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comments/comment2.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1"/>
  </p:notesMasterIdLst>
  <p:handoutMasterIdLst>
    <p:handoutMasterId r:id="rId12"/>
  </p:handoutMasterIdLst>
  <p:sldIdLst>
    <p:sldId id="883" r:id="rId2"/>
    <p:sldId id="881" r:id="rId3"/>
    <p:sldId id="872" r:id="rId4"/>
    <p:sldId id="885" r:id="rId5"/>
    <p:sldId id="879" r:id="rId6"/>
    <p:sldId id="873" r:id="rId7"/>
    <p:sldId id="876" r:id="rId8"/>
    <p:sldId id="262" r:id="rId9"/>
    <p:sldId id="874" r:id="rId10"/>
  </p:sldIdLst>
  <p:sldSz cx="12192000" cy="6858000"/>
  <p:notesSz cx="6858000" cy="9144000"/>
  <p:embeddedFontLst>
    <p:embeddedFont>
      <p:font typeface="Aktiv Grotesk" panose="020B0604020202020204" charset="0"/>
      <p:regular r:id="rId13"/>
      <p:bold r:id="rId14"/>
    </p:embeddedFont>
    <p:embeddedFont>
      <p:font typeface="Aktiv Grotesk Light" panose="020B0604020202020204" charset="0"/>
      <p:regular r:id="rId15"/>
    </p:embeddedFont>
    <p:embeddedFont>
      <p:font typeface="Aktiv Grotesk Medium" panose="020B0604020202020204" charset="0"/>
      <p:regular r:id="rId16"/>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ndan Sullivan" initials="BS" lastIdx="5" clrIdx="0">
    <p:extLst>
      <p:ext uri="{19B8F6BF-5375-455C-9EA6-DF929625EA0E}">
        <p15:presenceInfo xmlns:p15="http://schemas.microsoft.com/office/powerpoint/2012/main" userId="S::sullivanb@iata.org::ad152e60-25bb-4241-a450-798f096d0f1c" providerId="AD"/>
      </p:ext>
    </p:extLst>
  </p:cmAuthor>
  <p:cmAuthor id="2" name="André Majeres" initials="AM" lastIdx="9" clrIdx="1">
    <p:extLst>
      <p:ext uri="{19B8F6BF-5375-455C-9EA6-DF929625EA0E}">
        <p15:presenceInfo xmlns:p15="http://schemas.microsoft.com/office/powerpoint/2012/main" userId="S::majeresa@iata.org::70b567de-628b-418a-adb3-c72544917d4f" providerId="AD"/>
      </p:ext>
    </p:extLst>
  </p:cmAuthor>
  <p:cmAuthor id="3" name="Patricia Fernandez Varela" initials="PFV" lastIdx="4" clrIdx="2">
    <p:extLst>
      <p:ext uri="{19B8F6BF-5375-455C-9EA6-DF929625EA0E}">
        <p15:presenceInfo xmlns:p15="http://schemas.microsoft.com/office/powerpoint/2012/main" userId="S::varelap@iata.org::c3595910-f9f2-4ef6-a768-ec806f1e6e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32FA"/>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7CCF9E-1A52-4482-ACF7-5979C57EAB4E}" v="25" dt="2021-03-18T12:12:14.2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8508" autoAdjust="0"/>
  </p:normalViewPr>
  <p:slideViewPr>
    <p:cSldViewPr snapToGrid="0">
      <p:cViewPr varScale="1">
        <p:scale>
          <a:sx n="58" d="100"/>
          <a:sy n="58" d="100"/>
        </p:scale>
        <p:origin x="1618" y="67"/>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font" Target="fonts/font3.fntdata"/><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accent1"/>
                </a:solidFill>
                <a:latin typeface="Aktiv Grotesk" panose="020B0504020202020204" pitchFamily="34" charset="0"/>
                <a:ea typeface="Aktiv Grotesk" panose="020B0504020202020204" pitchFamily="34" charset="0"/>
                <a:cs typeface="Aktiv Grotesk" panose="020B0504020202020204" pitchFamily="34" charset="0"/>
              </a:defRPr>
            </a:pPr>
            <a:r>
              <a:rPr lang="en-US" sz="1400" b="1">
                <a:solidFill>
                  <a:schemeClr val="accent1"/>
                </a:solidFill>
              </a:rPr>
              <a:t>Retail E-Commerce Sales Worldwid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accent1"/>
              </a:solidFill>
              <a:latin typeface="Aktiv Grotesk" panose="020B0504020202020204" pitchFamily="34" charset="0"/>
              <a:ea typeface="Aktiv Grotesk" panose="020B0504020202020204" pitchFamily="34" charset="0"/>
              <a:cs typeface="Aktiv Grotesk" panose="020B0504020202020204" pitchFamily="34" charset="0"/>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3"/>
            <c:invertIfNegative val="0"/>
            <c:bubble3D val="0"/>
            <c:spPr>
              <a:solidFill>
                <a:srgbClr val="FFC000"/>
              </a:solidFill>
              <a:ln>
                <a:noFill/>
              </a:ln>
              <a:effectLst/>
            </c:spPr>
            <c:extLst>
              <c:ext xmlns:c16="http://schemas.microsoft.com/office/drawing/2014/chart" uri="{C3380CC4-5D6E-409C-BE32-E72D297353CC}">
                <c16:uniqueId val="{00000001-346B-4A65-AC90-9A562B5627CD}"/>
              </c:ext>
            </c:extLst>
          </c:dPt>
          <c:dPt>
            <c:idx val="4"/>
            <c:invertIfNegative val="0"/>
            <c:bubble3D val="0"/>
            <c:spPr>
              <a:solidFill>
                <a:srgbClr val="FFC000"/>
              </a:solidFill>
              <a:ln>
                <a:noFill/>
              </a:ln>
              <a:effectLst/>
            </c:spPr>
            <c:extLst>
              <c:ext xmlns:c16="http://schemas.microsoft.com/office/drawing/2014/chart" uri="{C3380CC4-5D6E-409C-BE32-E72D297353CC}">
                <c16:uniqueId val="{00000003-346B-4A65-AC90-9A562B5627CD}"/>
              </c:ext>
            </c:extLst>
          </c:dPt>
          <c:dPt>
            <c:idx val="5"/>
            <c:invertIfNegative val="0"/>
            <c:bubble3D val="0"/>
            <c:spPr>
              <a:solidFill>
                <a:srgbClr val="FFC000"/>
              </a:solidFill>
              <a:ln>
                <a:noFill/>
              </a:ln>
              <a:effectLst/>
            </c:spPr>
            <c:extLst>
              <c:ext xmlns:c16="http://schemas.microsoft.com/office/drawing/2014/chart" uri="{C3380CC4-5D6E-409C-BE32-E72D297353CC}">
                <c16:uniqueId val="{00000005-346B-4A65-AC90-9A562B5627CD}"/>
              </c:ext>
            </c:extLst>
          </c:dPt>
          <c:dPt>
            <c:idx val="6"/>
            <c:invertIfNegative val="0"/>
            <c:bubble3D val="0"/>
            <c:spPr>
              <a:solidFill>
                <a:srgbClr val="FFC000"/>
              </a:solidFill>
              <a:ln>
                <a:noFill/>
              </a:ln>
              <a:effectLst/>
            </c:spPr>
            <c:extLst>
              <c:ext xmlns:c16="http://schemas.microsoft.com/office/drawing/2014/chart" uri="{C3380CC4-5D6E-409C-BE32-E72D297353CC}">
                <c16:uniqueId val="{00000007-346B-4A65-AC90-9A562B5627CD}"/>
              </c:ext>
            </c:extLst>
          </c:dPt>
          <c:cat>
            <c:numRef>
              <c:f>Sheet1!$D$4:$D$10</c:f>
              <c:numCache>
                <c:formatCode>General</c:formatCode>
                <c:ptCount val="7"/>
                <c:pt idx="0">
                  <c:v>2018</c:v>
                </c:pt>
                <c:pt idx="1">
                  <c:v>2019</c:v>
                </c:pt>
                <c:pt idx="2">
                  <c:v>2020</c:v>
                </c:pt>
                <c:pt idx="3">
                  <c:v>2021</c:v>
                </c:pt>
                <c:pt idx="4">
                  <c:v>2022</c:v>
                </c:pt>
                <c:pt idx="5">
                  <c:v>2023</c:v>
                </c:pt>
                <c:pt idx="6">
                  <c:v>2024</c:v>
                </c:pt>
              </c:numCache>
            </c:numRef>
          </c:cat>
          <c:val>
            <c:numRef>
              <c:f>Sheet1!$F$4:$F$10</c:f>
              <c:numCache>
                <c:formatCode>"$"#,##0_);[Red]\("$"#,##0\)</c:formatCode>
                <c:ptCount val="7"/>
                <c:pt idx="0" formatCode="&quot;$&quot;#,##0.000_);[Red]\(&quot;$&quot;#,##0.000\)">
                  <c:v>2774</c:v>
                </c:pt>
                <c:pt idx="1">
                  <c:v>3354</c:v>
                </c:pt>
                <c:pt idx="2">
                  <c:v>4280</c:v>
                </c:pt>
                <c:pt idx="3">
                  <c:v>4891</c:v>
                </c:pt>
                <c:pt idx="4">
                  <c:v>5424</c:v>
                </c:pt>
                <c:pt idx="5">
                  <c:v>5908</c:v>
                </c:pt>
                <c:pt idx="6">
                  <c:v>6388</c:v>
                </c:pt>
              </c:numCache>
            </c:numRef>
          </c:val>
          <c:extLst>
            <c:ext xmlns:c16="http://schemas.microsoft.com/office/drawing/2014/chart" uri="{C3380CC4-5D6E-409C-BE32-E72D297353CC}">
              <c16:uniqueId val="{00000008-346B-4A65-AC90-9A562B5627CD}"/>
            </c:ext>
          </c:extLst>
        </c:ser>
        <c:dLbls>
          <c:showLegendKey val="0"/>
          <c:showVal val="0"/>
          <c:showCatName val="0"/>
          <c:showSerName val="0"/>
          <c:showPercent val="0"/>
          <c:showBubbleSize val="0"/>
        </c:dLbls>
        <c:gapWidth val="59"/>
        <c:axId val="987234368"/>
        <c:axId val="987236336"/>
      </c:barChart>
      <c:lineChart>
        <c:grouping val="standard"/>
        <c:varyColors val="0"/>
        <c:ser>
          <c:idx val="1"/>
          <c:order val="1"/>
          <c:spPr>
            <a:ln w="38100" cap="rnd" cmpd="sng">
              <a:solidFill>
                <a:srgbClr val="FF0000"/>
              </a:solidFill>
              <a:round/>
            </a:ln>
            <a:effectLst/>
          </c:spPr>
          <c:marker>
            <c:symbol val="none"/>
          </c:marker>
          <c:cat>
            <c:numRef>
              <c:f>Sheet1!$D$4:$D$10</c:f>
              <c:numCache>
                <c:formatCode>General</c:formatCode>
                <c:ptCount val="7"/>
                <c:pt idx="0">
                  <c:v>2018</c:v>
                </c:pt>
                <c:pt idx="1">
                  <c:v>2019</c:v>
                </c:pt>
                <c:pt idx="2">
                  <c:v>2020</c:v>
                </c:pt>
                <c:pt idx="3">
                  <c:v>2021</c:v>
                </c:pt>
                <c:pt idx="4">
                  <c:v>2022</c:v>
                </c:pt>
                <c:pt idx="5">
                  <c:v>2023</c:v>
                </c:pt>
                <c:pt idx="6">
                  <c:v>2024</c:v>
                </c:pt>
              </c:numCache>
            </c:numRef>
          </c:cat>
          <c:val>
            <c:numRef>
              <c:f>Sheet1!$G$4:$G$10</c:f>
              <c:numCache>
                <c:formatCode>0.00%</c:formatCode>
                <c:ptCount val="7"/>
                <c:pt idx="0">
                  <c:v>0.11600000000000001</c:v>
                </c:pt>
                <c:pt idx="1">
                  <c:v>0.13600000000000001</c:v>
                </c:pt>
                <c:pt idx="2">
                  <c:v>0.18</c:v>
                </c:pt>
                <c:pt idx="3">
                  <c:v>0.19500000000000001</c:v>
                </c:pt>
                <c:pt idx="4">
                  <c:v>0.20399999999999999</c:v>
                </c:pt>
                <c:pt idx="5">
                  <c:v>0.21099999999999999</c:v>
                </c:pt>
                <c:pt idx="6">
                  <c:v>0.218</c:v>
                </c:pt>
              </c:numCache>
            </c:numRef>
          </c:val>
          <c:smooth val="0"/>
          <c:extLst>
            <c:ext xmlns:c16="http://schemas.microsoft.com/office/drawing/2014/chart" uri="{C3380CC4-5D6E-409C-BE32-E72D297353CC}">
              <c16:uniqueId val="{00000009-346B-4A65-AC90-9A562B5627CD}"/>
            </c:ext>
          </c:extLst>
        </c:ser>
        <c:dLbls>
          <c:showLegendKey val="0"/>
          <c:showVal val="0"/>
          <c:showCatName val="0"/>
          <c:showSerName val="0"/>
          <c:showPercent val="0"/>
          <c:showBubbleSize val="0"/>
        </c:dLbls>
        <c:marker val="1"/>
        <c:smooth val="0"/>
        <c:axId val="837064312"/>
        <c:axId val="837065952"/>
      </c:lineChart>
      <c:catAx>
        <c:axId val="987234368"/>
        <c:scaling>
          <c:orientation val="minMax"/>
        </c:scaling>
        <c:delete val="0"/>
        <c:axPos val="b"/>
        <c:title>
          <c:tx>
            <c:rich>
              <a:bodyPr rot="0" spcFirstLastPara="1" vertOverflow="ellipsis" vert="horz" wrap="square" anchor="ctr" anchorCtr="1"/>
              <a:lstStyle/>
              <a:p>
                <a:pPr>
                  <a:defRPr sz="1050" b="0" i="0" u="none" strike="noStrike" kern="1200" baseline="0">
                    <a:solidFill>
                      <a:schemeClr val="accent1"/>
                    </a:solidFill>
                    <a:latin typeface="Aktiv Grotesk" panose="020B0504020202020204" pitchFamily="34" charset="0"/>
                    <a:ea typeface="Aktiv Grotesk" panose="020B0504020202020204" pitchFamily="34" charset="0"/>
                    <a:cs typeface="Aktiv Grotesk" panose="020B0504020202020204" pitchFamily="34" charset="0"/>
                  </a:defRPr>
                </a:pPr>
                <a:r>
                  <a:rPr lang="en-US">
                    <a:solidFill>
                      <a:schemeClr val="accent1"/>
                    </a:solidFill>
                  </a:rPr>
                  <a:t>Years</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accent1"/>
                  </a:solidFill>
                  <a:latin typeface="Aktiv Grotesk" panose="020B0504020202020204" pitchFamily="34" charset="0"/>
                  <a:ea typeface="Aktiv Grotesk" panose="020B0504020202020204" pitchFamily="34" charset="0"/>
                  <a:cs typeface="Aktiv Grotesk" panose="020B0504020202020204" pitchFamily="34" charset="0"/>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Aktiv Grotesk" panose="020B0504020202020204" pitchFamily="34" charset="0"/>
                <a:ea typeface="Aktiv Grotesk" panose="020B0504020202020204" pitchFamily="34" charset="0"/>
                <a:cs typeface="Aktiv Grotesk" panose="020B0504020202020204" pitchFamily="34" charset="0"/>
              </a:defRPr>
            </a:pPr>
            <a:endParaRPr lang="en-US"/>
          </a:p>
        </c:txPr>
        <c:crossAx val="987236336"/>
        <c:crosses val="autoZero"/>
        <c:auto val="1"/>
        <c:lblAlgn val="ctr"/>
        <c:lblOffset val="100"/>
        <c:noMultiLvlLbl val="0"/>
      </c:catAx>
      <c:valAx>
        <c:axId val="9872363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accent1"/>
                    </a:solidFill>
                    <a:latin typeface="Aktiv Grotesk" panose="020B0504020202020204" pitchFamily="34" charset="0"/>
                    <a:ea typeface="Aktiv Grotesk" panose="020B0504020202020204" pitchFamily="34" charset="0"/>
                    <a:cs typeface="Aktiv Grotesk" panose="020B0504020202020204" pitchFamily="34" charset="0"/>
                  </a:defRPr>
                </a:pPr>
                <a:r>
                  <a:rPr lang="en-US">
                    <a:solidFill>
                      <a:schemeClr val="accent1"/>
                    </a:solidFill>
                  </a:rPr>
                  <a:t>Sales in USD Trillions</a:t>
                </a:r>
              </a:p>
            </c:rich>
          </c:tx>
          <c:layout>
            <c:manualLayout>
              <c:xMode val="edge"/>
              <c:yMode val="edge"/>
              <c:x val="5.8372903573938473E-3"/>
              <c:y val="0.29498969124394847"/>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accent1"/>
                  </a:solidFill>
                  <a:latin typeface="Aktiv Grotesk" panose="020B0504020202020204" pitchFamily="34" charset="0"/>
                  <a:ea typeface="Aktiv Grotesk" panose="020B0504020202020204" pitchFamily="34" charset="0"/>
                  <a:cs typeface="Aktiv Grotesk" panose="020B0504020202020204" pitchFamily="34" charset="0"/>
                </a:defRPr>
              </a:pPr>
              <a:endParaRPr lang="en-US"/>
            </a:p>
          </c:txPr>
        </c:title>
        <c:numFmt formatCode="&quot;$&quot;#,##0_);[Red]\(&quot;$&quot;#,##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Aktiv Grotesk" panose="020B0504020202020204" pitchFamily="34" charset="0"/>
                <a:ea typeface="Aktiv Grotesk" panose="020B0504020202020204" pitchFamily="34" charset="0"/>
                <a:cs typeface="Aktiv Grotesk" panose="020B0504020202020204" pitchFamily="34" charset="0"/>
              </a:defRPr>
            </a:pPr>
            <a:endParaRPr lang="en-US"/>
          </a:p>
        </c:txPr>
        <c:crossAx val="987234368"/>
        <c:crosses val="autoZero"/>
        <c:crossBetween val="between"/>
      </c:valAx>
      <c:valAx>
        <c:axId val="837065952"/>
        <c:scaling>
          <c:orientation val="minMax"/>
          <c:max val="0.5"/>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Aktiv Grotesk" panose="020B0504020202020204" pitchFamily="34" charset="0"/>
                <a:ea typeface="Aktiv Grotesk" panose="020B0504020202020204" pitchFamily="34" charset="0"/>
                <a:cs typeface="Aktiv Grotesk" panose="020B0504020202020204" pitchFamily="34" charset="0"/>
              </a:defRPr>
            </a:pPr>
            <a:endParaRPr lang="en-US"/>
          </a:p>
        </c:txPr>
        <c:crossAx val="837064312"/>
        <c:crosses val="max"/>
        <c:crossBetween val="between"/>
      </c:valAx>
      <c:catAx>
        <c:axId val="837064312"/>
        <c:scaling>
          <c:orientation val="minMax"/>
        </c:scaling>
        <c:delete val="1"/>
        <c:axPos val="b"/>
        <c:numFmt formatCode="General" sourceLinked="1"/>
        <c:majorTickMark val="out"/>
        <c:minorTickMark val="none"/>
        <c:tickLblPos val="nextTo"/>
        <c:crossAx val="837065952"/>
        <c:crosses val="autoZero"/>
        <c:auto val="1"/>
        <c:lblAlgn val="ctr"/>
        <c:lblOffset val="100"/>
        <c:noMultiLvlLbl val="0"/>
      </c:catAx>
      <c:spPr>
        <a:noFill/>
        <a:ln>
          <a:noFill/>
        </a:ln>
        <a:effectLst/>
      </c:spPr>
    </c:plotArea>
    <c:plotVisOnly val="1"/>
    <c:dispBlanksAs val="gap"/>
    <c:showDLblsOverMax val="0"/>
  </c:chart>
  <c:spPr>
    <a:noFill/>
    <a:ln w="9525" cap="flat" cmpd="sng" algn="ctr">
      <a:noFill/>
      <a:round/>
    </a:ln>
    <a:effectLst/>
  </c:spPr>
  <c:txPr>
    <a:bodyPr/>
    <a:lstStyle/>
    <a:p>
      <a:pPr>
        <a:defRPr sz="1050">
          <a:latin typeface="Aktiv Grotesk" panose="020B0504020202020204" pitchFamily="34" charset="0"/>
          <a:ea typeface="Aktiv Grotesk" panose="020B0504020202020204" pitchFamily="34" charset="0"/>
          <a:cs typeface="Aktiv Grotesk" panose="020B05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3-17T10:51:21.412" idx="2">
    <p:pos x="10" y="10"/>
    <p:text>merge slide 7 logos with this slide?</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1-03-17T11:52:15.485" idx="8">
    <p:pos x="10" y="10"/>
    <p:text>Links to Monitor and Articles and IATA eCommerce and logistics page?</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FD0FF8E-AD6C-48C6-BCA2-9941E1E3A200}"/>
              </a:ext>
            </a:extLst>
          </p:cNvPr>
          <p:cNvSpPr>
            <a:spLocks noGrp="1"/>
          </p:cNvSpPr>
          <p:nvPr>
            <p:ph type="hdr" sz="quarter"/>
          </p:nvPr>
        </p:nvSpPr>
        <p:spPr>
          <a:xfrm>
            <a:off x="477980" y="0"/>
            <a:ext cx="2784765" cy="458788"/>
          </a:xfrm>
          <a:prstGeom prst="rect">
            <a:avLst/>
          </a:prstGeom>
        </p:spPr>
        <p:txBody>
          <a:bodyPr vert="horz" lIns="91440" tIns="45720" rIns="91440" bIns="45720" rtlCol="0" anchor="b" anchorCtr="0"/>
          <a:lstStyle>
            <a:lvl1pPr algn="l">
              <a:defRPr sz="1200"/>
            </a:lvl1pPr>
          </a:lstStyle>
          <a:p>
            <a:endParaRPr lang="en-US" sz="1000"/>
          </a:p>
        </p:txBody>
      </p:sp>
      <p:sp>
        <p:nvSpPr>
          <p:cNvPr id="3" name="Date Placeholder 2">
            <a:extLst>
              <a:ext uri="{FF2B5EF4-FFF2-40B4-BE49-F238E27FC236}">
                <a16:creationId xmlns:a16="http://schemas.microsoft.com/office/drawing/2014/main" id="{87AE2D18-DC98-444A-8A8A-7D09977137AB}"/>
              </a:ext>
            </a:extLst>
          </p:cNvPr>
          <p:cNvSpPr>
            <a:spLocks noGrp="1"/>
          </p:cNvSpPr>
          <p:nvPr>
            <p:ph type="dt" sz="quarter" idx="1"/>
          </p:nvPr>
        </p:nvSpPr>
        <p:spPr>
          <a:xfrm>
            <a:off x="3595257" y="0"/>
            <a:ext cx="2784763" cy="458788"/>
          </a:xfrm>
          <a:prstGeom prst="rect">
            <a:avLst/>
          </a:prstGeom>
        </p:spPr>
        <p:txBody>
          <a:bodyPr vert="horz" lIns="91440" tIns="45720" rIns="91440" bIns="45720" rtlCol="0" anchor="b" anchorCtr="0"/>
          <a:lstStyle>
            <a:lvl1pPr algn="r">
              <a:defRPr sz="1200"/>
            </a:lvl1pPr>
          </a:lstStyle>
          <a:p>
            <a:fld id="{C742B7D5-EC82-44F6-A7E1-F7BEEB78D862}" type="datetimeFigureOut">
              <a:rPr lang="en-US" sz="1000" smtClean="0"/>
              <a:t>3/31/2021</a:t>
            </a:fld>
            <a:endParaRPr lang="en-US" sz="1000"/>
          </a:p>
        </p:txBody>
      </p:sp>
      <p:sp>
        <p:nvSpPr>
          <p:cNvPr id="4" name="Footer Placeholder 3">
            <a:extLst>
              <a:ext uri="{FF2B5EF4-FFF2-40B4-BE49-F238E27FC236}">
                <a16:creationId xmlns:a16="http://schemas.microsoft.com/office/drawing/2014/main" id="{7138B8B2-A215-46EA-ACE8-421665D33BA8}"/>
              </a:ext>
            </a:extLst>
          </p:cNvPr>
          <p:cNvSpPr>
            <a:spLocks noGrp="1"/>
          </p:cNvSpPr>
          <p:nvPr>
            <p:ph type="ftr" sz="quarter" idx="2"/>
          </p:nvPr>
        </p:nvSpPr>
        <p:spPr>
          <a:xfrm>
            <a:off x="1184563" y="8685213"/>
            <a:ext cx="4249881" cy="458787"/>
          </a:xfrm>
          <a:prstGeom prst="rect">
            <a:avLst/>
          </a:prstGeom>
        </p:spPr>
        <p:txBody>
          <a:bodyPr vert="horz" lIns="91440" tIns="45720" rIns="91440" bIns="45720" rtlCol="0" anchor="t" anchorCtr="0"/>
          <a:lstStyle>
            <a:lvl1pPr algn="l">
              <a:defRPr sz="1200"/>
            </a:lvl1pPr>
          </a:lstStyle>
          <a:p>
            <a:endParaRPr lang="en-US" sz="1000"/>
          </a:p>
        </p:txBody>
      </p:sp>
      <p:sp>
        <p:nvSpPr>
          <p:cNvPr id="5" name="Slide Number Placeholder 4">
            <a:extLst>
              <a:ext uri="{FF2B5EF4-FFF2-40B4-BE49-F238E27FC236}">
                <a16:creationId xmlns:a16="http://schemas.microsoft.com/office/drawing/2014/main" id="{62B1F3DC-01D1-4439-A13F-6E96C67139AB}"/>
              </a:ext>
            </a:extLst>
          </p:cNvPr>
          <p:cNvSpPr>
            <a:spLocks noGrp="1"/>
          </p:cNvSpPr>
          <p:nvPr>
            <p:ph type="sldNum" sz="quarter" idx="3"/>
          </p:nvPr>
        </p:nvSpPr>
        <p:spPr>
          <a:xfrm>
            <a:off x="477982" y="8685213"/>
            <a:ext cx="488372" cy="458787"/>
          </a:xfrm>
          <a:prstGeom prst="rect">
            <a:avLst/>
          </a:prstGeom>
        </p:spPr>
        <p:txBody>
          <a:bodyPr vert="horz" lIns="91440" tIns="45720" rIns="91440" bIns="45720" rtlCol="0" anchor="t" anchorCtr="0"/>
          <a:lstStyle>
            <a:lvl1pPr algn="r">
              <a:defRPr sz="1200"/>
            </a:lvl1pPr>
          </a:lstStyle>
          <a:p>
            <a:pPr algn="l"/>
            <a:fld id="{9D865D99-2DA9-452F-AC6C-1E9B05A5072B}" type="slidenum">
              <a:rPr lang="en-US" sz="1000" smtClean="0"/>
              <a:pPr algn="l"/>
              <a:t>‹#›</a:t>
            </a:fld>
            <a:endParaRPr lang="en-US" sz="1000"/>
          </a:p>
        </p:txBody>
      </p:sp>
      <p:sp>
        <p:nvSpPr>
          <p:cNvPr id="6" name="Freeform 5">
            <a:extLst>
              <a:ext uri="{FF2B5EF4-FFF2-40B4-BE49-F238E27FC236}">
                <a16:creationId xmlns:a16="http://schemas.microsoft.com/office/drawing/2014/main" id="{58AB3F47-462C-4908-95C9-67DEF5E02D9E}"/>
              </a:ext>
            </a:extLst>
          </p:cNvPr>
          <p:cNvSpPr>
            <a:spLocks noChangeAspect="1" noEditPoints="1"/>
          </p:cNvSpPr>
          <p:nvPr/>
        </p:nvSpPr>
        <p:spPr bwMode="auto">
          <a:xfrm>
            <a:off x="5647408" y="8371060"/>
            <a:ext cx="732609" cy="458789"/>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850329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9" y="0"/>
            <a:ext cx="3480956" cy="458788"/>
          </a:xfrm>
          <a:prstGeom prst="rect">
            <a:avLst/>
          </a:prstGeom>
        </p:spPr>
        <p:txBody>
          <a:bodyPr vert="horz" lIns="91440" tIns="45720" rIns="91440" bIns="45720" rtlCol="0" anchor="b" anchorCtr="0"/>
          <a:lstStyle>
            <a:lvl1pPr algn="l">
              <a:defRPr sz="1000"/>
            </a:lvl1pPr>
          </a:lstStyle>
          <a:p>
            <a:endParaRPr lang="en-US"/>
          </a:p>
        </p:txBody>
      </p:sp>
      <p:sp>
        <p:nvSpPr>
          <p:cNvPr id="3" name="Date Placeholder 2"/>
          <p:cNvSpPr>
            <a:spLocks noGrp="1"/>
          </p:cNvSpPr>
          <p:nvPr>
            <p:ph type="dt" idx="1"/>
          </p:nvPr>
        </p:nvSpPr>
        <p:spPr>
          <a:xfrm>
            <a:off x="4478482" y="0"/>
            <a:ext cx="1692131" cy="458788"/>
          </a:xfrm>
          <a:prstGeom prst="rect">
            <a:avLst/>
          </a:prstGeom>
        </p:spPr>
        <p:txBody>
          <a:bodyPr vert="horz" lIns="91440" tIns="45720" rIns="91440" bIns="45720" rtlCol="0" anchor="b" anchorCtr="0"/>
          <a:lstStyle>
            <a:lvl1pPr algn="r">
              <a:defRPr sz="1000"/>
            </a:lvl1pPr>
          </a:lstStyle>
          <a:p>
            <a:fld id="{E79CEAD0-6B03-44FC-A844-68ECB8F6C6E8}" type="datetimeFigureOut">
              <a:rPr lang="en-US" smtClean="0"/>
              <a:pPr/>
              <a:t>3/3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485900" y="8685213"/>
            <a:ext cx="4686300" cy="458787"/>
          </a:xfrm>
          <a:prstGeom prst="rect">
            <a:avLst/>
          </a:prstGeom>
        </p:spPr>
        <p:txBody>
          <a:bodyPr vert="horz" lIns="91440" tIns="45720" rIns="91440" bIns="45720" rtlCol="0" anchor="t" anchorCtr="0"/>
          <a:lstStyle>
            <a:lvl1pPr algn="l">
              <a:defRPr sz="1000"/>
            </a:lvl1pPr>
          </a:lstStyle>
          <a:p>
            <a:endParaRPr lang="en-US"/>
          </a:p>
        </p:txBody>
      </p:sp>
      <p:sp>
        <p:nvSpPr>
          <p:cNvPr id="7" name="Slide Number Placeholder 6"/>
          <p:cNvSpPr>
            <a:spLocks noGrp="1"/>
          </p:cNvSpPr>
          <p:nvPr>
            <p:ph type="sldNum" sz="quarter" idx="5"/>
          </p:nvPr>
        </p:nvSpPr>
        <p:spPr>
          <a:xfrm>
            <a:off x="685800" y="8685213"/>
            <a:ext cx="521132" cy="458787"/>
          </a:xfrm>
          <a:prstGeom prst="rect">
            <a:avLst/>
          </a:prstGeom>
        </p:spPr>
        <p:txBody>
          <a:bodyPr vert="horz" lIns="91440" tIns="45720" rIns="91440" bIns="45720" rtlCol="0" anchor="t" anchorCtr="0"/>
          <a:lstStyle>
            <a:lvl1pPr algn="l">
              <a:defRPr sz="1000"/>
            </a:lvl1pPr>
          </a:lstStyle>
          <a:p>
            <a:fld id="{F17EFD21-3E0D-4ED5-96F2-31052EE08DB7}" type="slidenum">
              <a:rPr lang="en-US" smtClean="0"/>
              <a:pPr/>
              <a:t>‹#›</a:t>
            </a:fld>
            <a:endParaRPr lang="en-US"/>
          </a:p>
        </p:txBody>
      </p:sp>
    </p:spTree>
    <p:extLst>
      <p:ext uri="{BB962C8B-B14F-4D97-AF65-F5344CB8AC3E}">
        <p14:creationId xmlns:p14="http://schemas.microsoft.com/office/powerpoint/2010/main" val="517517962"/>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Arial" panose="020B0604020202020204" pitchFamily="34" charset="0"/>
      <a:buNone/>
      <a:defRPr sz="1100" kern="1200">
        <a:solidFill>
          <a:schemeClr val="tx1"/>
        </a:solidFill>
        <a:latin typeface="+mj-lt"/>
        <a:ea typeface="+mn-ea"/>
        <a:cs typeface="+mn-cs"/>
      </a:defRPr>
    </a:lvl1pPr>
    <a:lvl2pPr marL="341313" indent="-168275" algn="l" defTabSz="914400" rtl="0" eaLnBrk="1" latinLnBrk="0" hangingPunct="1">
      <a:buFont typeface="Aktiv Grotesk" panose="020B0504020202020204" pitchFamily="34" charset="0"/>
      <a:buChar char="•"/>
      <a:defRPr sz="1100" kern="1200">
        <a:solidFill>
          <a:schemeClr val="tx1"/>
        </a:solidFill>
        <a:latin typeface="+mn-lt"/>
        <a:ea typeface="+mn-ea"/>
        <a:cs typeface="+mn-cs"/>
      </a:defRPr>
    </a:lvl2pPr>
    <a:lvl3pPr marL="514350" indent="-171450" algn="l" defTabSz="914400" rtl="0" eaLnBrk="1" latinLnBrk="0" hangingPunct="1">
      <a:buFont typeface="Aktiv Grotesk" panose="020B0504020202020204" pitchFamily="34" charset="0"/>
      <a:buChar char="−"/>
      <a:defRPr sz="1100" kern="1200">
        <a:solidFill>
          <a:schemeClr val="tx1"/>
        </a:solidFill>
        <a:latin typeface="+mn-lt"/>
        <a:ea typeface="+mn-ea"/>
        <a:cs typeface="+mn-cs"/>
      </a:defRPr>
    </a:lvl3pPr>
    <a:lvl4pPr marL="628650" indent="-171450" algn="l" defTabSz="914400" rtl="0" eaLnBrk="1" latinLnBrk="0" hangingPunct="1">
      <a:buFont typeface="Aktiv Grotesk" panose="020B0504020202020204" pitchFamily="34" charset="0"/>
      <a:buChar char="▪"/>
      <a:defRPr sz="1100" kern="1200">
        <a:solidFill>
          <a:schemeClr val="tx1"/>
        </a:solidFill>
        <a:latin typeface="+mn-lt"/>
        <a:ea typeface="+mn-ea"/>
        <a:cs typeface="+mn-cs"/>
      </a:defRPr>
    </a:lvl4pPr>
    <a:lvl5pPr marL="0" indent="0" algn="l" defTabSz="914400" rtl="0" eaLnBrk="1" latinLnBrk="0" hangingPunct="1">
      <a:defRPr sz="1100" kern="1200">
        <a:solidFill>
          <a:srgbClr val="1E32FA"/>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iata.org/contentassets/d22340c37e0c4cfd8fc05ca6ebf6cc9f/ecomm-strategies.pdf"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a:solidFill>
                  <a:schemeClr val="tx1"/>
                </a:solidFill>
                <a:effectLst/>
                <a:latin typeface="+mj-lt"/>
                <a:ea typeface="+mn-ea"/>
                <a:cs typeface="+mn-cs"/>
              </a:rPr>
              <a:t>“However, growth is uneven, with some countries capitalizing on it more than others”</a:t>
            </a:r>
          </a:p>
          <a:p>
            <a:r>
              <a:rPr lang="en-US" sz="1100" kern="1200">
                <a:solidFill>
                  <a:schemeClr val="tx1"/>
                </a:solidFill>
                <a:effectLst/>
                <a:latin typeface="+mj-lt"/>
                <a:ea typeface="+mn-ea"/>
                <a:cs typeface="+mn-cs"/>
              </a:rPr>
              <a:t>US and China are the biggest e-commerce markets (for selected categories) due to a number factors:</a:t>
            </a:r>
          </a:p>
          <a:p>
            <a:pPr lvl="0"/>
            <a:r>
              <a:rPr lang="en-US" sz="1100" kern="1200">
                <a:solidFill>
                  <a:schemeClr val="tx1"/>
                </a:solidFill>
                <a:effectLst/>
                <a:latin typeface="+mj-lt"/>
                <a:ea typeface="+mn-ea"/>
                <a:cs typeface="+mn-cs"/>
              </a:rPr>
              <a:t>Population</a:t>
            </a:r>
          </a:p>
          <a:p>
            <a:pPr lvl="0"/>
            <a:r>
              <a:rPr lang="en-US" sz="1100" kern="1200">
                <a:solidFill>
                  <a:schemeClr val="tx1"/>
                </a:solidFill>
                <a:effectLst/>
                <a:latin typeface="+mj-lt"/>
                <a:ea typeface="+mn-ea"/>
                <a:cs typeface="+mn-cs"/>
              </a:rPr>
              <a:t>Total GDP</a:t>
            </a:r>
          </a:p>
          <a:p>
            <a:pPr lvl="0"/>
            <a:r>
              <a:rPr lang="en-US" sz="1100" kern="1200">
                <a:solidFill>
                  <a:schemeClr val="tx1"/>
                </a:solidFill>
                <a:effectLst/>
                <a:latin typeface="+mj-lt"/>
                <a:ea typeface="+mn-ea"/>
                <a:cs typeface="+mn-cs"/>
              </a:rPr>
              <a:t>Manufacturing capabilities</a:t>
            </a:r>
          </a:p>
          <a:p>
            <a:pPr lvl="0"/>
            <a:r>
              <a:rPr lang="en-US" sz="1100" kern="1200">
                <a:solidFill>
                  <a:schemeClr val="tx1"/>
                </a:solidFill>
                <a:effectLst/>
                <a:latin typeface="+mj-lt"/>
                <a:ea typeface="+mn-ea"/>
                <a:cs typeface="+mn-cs"/>
              </a:rPr>
              <a:t>Internet penetration</a:t>
            </a:r>
          </a:p>
          <a:p>
            <a:r>
              <a:rPr lang="en-US" sz="1100" kern="1200">
                <a:solidFill>
                  <a:schemeClr val="tx1"/>
                </a:solidFill>
                <a:effectLst/>
                <a:latin typeface="+mj-lt"/>
                <a:ea typeface="+mn-ea"/>
                <a:cs typeface="+mn-cs"/>
              </a:rPr>
              <a:t>Both of countries create opportunities for cross border as well as domestic Air Cargo. In addition, the connection between those regions comprises the largest international Air Cargo route.</a:t>
            </a:r>
          </a:p>
          <a:p>
            <a:r>
              <a:rPr lang="en-US" sz="1100" kern="1200">
                <a:solidFill>
                  <a:schemeClr val="tx1"/>
                </a:solidFill>
                <a:effectLst/>
                <a:latin typeface="+mj-lt"/>
                <a:ea typeface="+mn-ea"/>
                <a:cs typeface="+mn-cs"/>
              </a:rPr>
              <a:t>Emerging markets can also pose an opportunity for cross border e-commerce growth in the next decade.</a:t>
            </a:r>
          </a:p>
          <a:p>
            <a:endParaRPr lang="en-US"/>
          </a:p>
        </p:txBody>
      </p:sp>
      <p:sp>
        <p:nvSpPr>
          <p:cNvPr id="4" name="Slide Number Placeholder 3"/>
          <p:cNvSpPr>
            <a:spLocks noGrp="1"/>
          </p:cNvSpPr>
          <p:nvPr>
            <p:ph type="sldNum" sz="quarter" idx="5"/>
          </p:nvPr>
        </p:nvSpPr>
        <p:spPr/>
        <p:txBody>
          <a:bodyPr/>
          <a:lstStyle/>
          <a:p>
            <a:fld id="{F17EFD21-3E0D-4ED5-96F2-31052EE08DB7}" type="slidenum">
              <a:rPr lang="en-US" smtClean="0"/>
              <a:pPr/>
              <a:t>3</a:t>
            </a:fld>
            <a:endParaRPr lang="en-US"/>
          </a:p>
        </p:txBody>
      </p:sp>
    </p:spTree>
    <p:extLst>
      <p:ext uri="{BB962C8B-B14F-4D97-AF65-F5344CB8AC3E}">
        <p14:creationId xmlns:p14="http://schemas.microsoft.com/office/powerpoint/2010/main" val="996730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a:solidFill>
                  <a:schemeClr val="tx1"/>
                </a:solidFill>
                <a:effectLst/>
                <a:latin typeface="+mj-lt"/>
                <a:ea typeface="+mn-ea"/>
                <a:cs typeface="+mn-cs"/>
              </a:rPr>
              <a:t>“However, growth is uneven, with some countries capitalizing on it more than others”</a:t>
            </a:r>
          </a:p>
          <a:p>
            <a:r>
              <a:rPr lang="en-US" sz="1100" kern="1200">
                <a:solidFill>
                  <a:schemeClr val="tx1"/>
                </a:solidFill>
                <a:effectLst/>
                <a:latin typeface="+mj-lt"/>
                <a:ea typeface="+mn-ea"/>
                <a:cs typeface="+mn-cs"/>
              </a:rPr>
              <a:t>US and China are the biggest e-commerce markets (for selected categories) due to a number factors:</a:t>
            </a:r>
          </a:p>
          <a:p>
            <a:pPr lvl="0"/>
            <a:r>
              <a:rPr lang="en-US" sz="1100" kern="1200">
                <a:solidFill>
                  <a:schemeClr val="tx1"/>
                </a:solidFill>
                <a:effectLst/>
                <a:latin typeface="+mj-lt"/>
                <a:ea typeface="+mn-ea"/>
                <a:cs typeface="+mn-cs"/>
              </a:rPr>
              <a:t>Population</a:t>
            </a:r>
          </a:p>
          <a:p>
            <a:pPr lvl="0"/>
            <a:r>
              <a:rPr lang="en-US" sz="1100" kern="1200">
                <a:solidFill>
                  <a:schemeClr val="tx1"/>
                </a:solidFill>
                <a:effectLst/>
                <a:latin typeface="+mj-lt"/>
                <a:ea typeface="+mn-ea"/>
                <a:cs typeface="+mn-cs"/>
              </a:rPr>
              <a:t>Total GDP</a:t>
            </a:r>
          </a:p>
          <a:p>
            <a:pPr lvl="0"/>
            <a:r>
              <a:rPr lang="en-US" sz="1100" kern="1200">
                <a:solidFill>
                  <a:schemeClr val="tx1"/>
                </a:solidFill>
                <a:effectLst/>
                <a:latin typeface="+mj-lt"/>
                <a:ea typeface="+mn-ea"/>
                <a:cs typeface="+mn-cs"/>
              </a:rPr>
              <a:t>Manufacturing capabilities</a:t>
            </a:r>
          </a:p>
          <a:p>
            <a:pPr lvl="0"/>
            <a:r>
              <a:rPr lang="en-US" sz="1100" kern="1200">
                <a:solidFill>
                  <a:schemeClr val="tx1"/>
                </a:solidFill>
                <a:effectLst/>
                <a:latin typeface="+mj-lt"/>
                <a:ea typeface="+mn-ea"/>
                <a:cs typeface="+mn-cs"/>
              </a:rPr>
              <a:t>Internet penetration</a:t>
            </a:r>
          </a:p>
          <a:p>
            <a:r>
              <a:rPr lang="en-US" sz="1100" kern="1200">
                <a:solidFill>
                  <a:schemeClr val="tx1"/>
                </a:solidFill>
                <a:effectLst/>
                <a:latin typeface="+mj-lt"/>
                <a:ea typeface="+mn-ea"/>
                <a:cs typeface="+mn-cs"/>
              </a:rPr>
              <a:t>Both of countries create opportunities for cross border as well as domestic Air Cargo. In addition, the connection between those regions comprises the largest international Air Cargo route.</a:t>
            </a:r>
          </a:p>
          <a:p>
            <a:r>
              <a:rPr lang="en-US" sz="1100" kern="1200">
                <a:solidFill>
                  <a:schemeClr val="tx1"/>
                </a:solidFill>
                <a:effectLst/>
                <a:latin typeface="+mj-lt"/>
                <a:ea typeface="+mn-ea"/>
                <a:cs typeface="+mn-cs"/>
              </a:rPr>
              <a:t>Emerging markets can also pose an opportunity for cross border e-commerce growth in the next decade.</a:t>
            </a:r>
          </a:p>
          <a:p>
            <a:endParaRPr lang="en-US"/>
          </a:p>
        </p:txBody>
      </p:sp>
      <p:sp>
        <p:nvSpPr>
          <p:cNvPr id="4" name="Slide Number Placeholder 3"/>
          <p:cNvSpPr>
            <a:spLocks noGrp="1"/>
          </p:cNvSpPr>
          <p:nvPr>
            <p:ph type="sldNum" sz="quarter" idx="5"/>
          </p:nvPr>
        </p:nvSpPr>
        <p:spPr/>
        <p:txBody>
          <a:bodyPr/>
          <a:lstStyle/>
          <a:p>
            <a:fld id="{F17EFD21-3E0D-4ED5-96F2-31052EE08DB7}" type="slidenum">
              <a:rPr lang="en-US" smtClean="0"/>
              <a:pPr/>
              <a:t>4</a:t>
            </a:fld>
            <a:endParaRPr lang="en-US"/>
          </a:p>
        </p:txBody>
      </p:sp>
    </p:spTree>
    <p:extLst>
      <p:ext uri="{BB962C8B-B14F-4D97-AF65-F5344CB8AC3E}">
        <p14:creationId xmlns:p14="http://schemas.microsoft.com/office/powerpoint/2010/main" val="1688073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7EFD21-3E0D-4ED5-96F2-31052EE08DB7}" type="slidenum">
              <a:rPr lang="en-US" smtClean="0"/>
              <a:pPr/>
              <a:t>5</a:t>
            </a:fld>
            <a:endParaRPr lang="en-US"/>
          </a:p>
        </p:txBody>
      </p:sp>
    </p:spTree>
    <p:extLst>
      <p:ext uri="{BB962C8B-B14F-4D97-AF65-F5344CB8AC3E}">
        <p14:creationId xmlns:p14="http://schemas.microsoft.com/office/powerpoint/2010/main" val="440041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4 distinct air cargo logistics models were identified, distinguishable by variations in the level of owned vs. outsourced capability and the air dispatch/consolidation profile (single parcels vs. freight)</a:t>
            </a:r>
          </a:p>
        </p:txBody>
      </p:sp>
      <p:sp>
        <p:nvSpPr>
          <p:cNvPr id="4" name="Slide Number Placeholder 3"/>
          <p:cNvSpPr>
            <a:spLocks noGrp="1"/>
          </p:cNvSpPr>
          <p:nvPr>
            <p:ph type="sldNum" sz="quarter" idx="5"/>
          </p:nvPr>
        </p:nvSpPr>
        <p:spPr/>
        <p:txBody>
          <a:bodyPr/>
          <a:lstStyle/>
          <a:p>
            <a:fld id="{F17EFD21-3E0D-4ED5-96F2-31052EE08DB7}" type="slidenum">
              <a:rPr lang="en-US" smtClean="0"/>
              <a:pPr/>
              <a:t>6</a:t>
            </a:fld>
            <a:endParaRPr lang="en-US"/>
          </a:p>
        </p:txBody>
      </p:sp>
    </p:spTree>
    <p:extLst>
      <p:ext uri="{BB962C8B-B14F-4D97-AF65-F5344CB8AC3E}">
        <p14:creationId xmlns:p14="http://schemas.microsoft.com/office/powerpoint/2010/main" val="19124519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100" dirty="0"/>
              <a:t>As part of our research, IATA engaged with many e-commerce players to identify how to transform the pain points into opportunities. And depending on the degree to which they wish to enter the market, they could then adopt one or more of the following strategies illustrated below. Read more about the </a:t>
            </a:r>
            <a:r>
              <a:rPr lang="en-US" sz="1100" dirty="0">
                <a:hlinkClick r:id="rId3"/>
              </a:rPr>
              <a:t>5 strategies in the latest insights article </a:t>
            </a:r>
            <a:r>
              <a:rPr lang="en-US" sz="1100" dirty="0"/>
              <a:t>(pdf)</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100" dirty="0"/>
              <a:t>78% of consumers wanted reusable packaging</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lang="en-US" sz="1100" dirty="0"/>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100" dirty="0"/>
              <a:t>12 million parcels were packaged using </a:t>
            </a:r>
            <a:r>
              <a:rPr lang="en-US" sz="1100" dirty="0" err="1"/>
              <a:t>Cainiao’s</a:t>
            </a:r>
            <a:r>
              <a:rPr lang="en-US" sz="1100" dirty="0"/>
              <a:t> smart-packaging algorithms during 11.11.2020</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lang="en-US" sz="1100" dirty="0"/>
          </a:p>
        </p:txBody>
      </p:sp>
      <p:sp>
        <p:nvSpPr>
          <p:cNvPr id="4" name="Slide Number Placeholder 3"/>
          <p:cNvSpPr>
            <a:spLocks noGrp="1"/>
          </p:cNvSpPr>
          <p:nvPr>
            <p:ph type="sldNum" sz="quarter" idx="5"/>
          </p:nvPr>
        </p:nvSpPr>
        <p:spPr/>
        <p:txBody>
          <a:bodyPr/>
          <a:lstStyle/>
          <a:p>
            <a:fld id="{F17EFD21-3E0D-4ED5-96F2-31052EE08DB7}" type="slidenum">
              <a:rPr lang="en-US" smtClean="0"/>
              <a:pPr/>
              <a:t>7</a:t>
            </a:fld>
            <a:endParaRPr lang="en-US"/>
          </a:p>
        </p:txBody>
      </p:sp>
    </p:spTree>
    <p:extLst>
      <p:ext uri="{BB962C8B-B14F-4D97-AF65-F5344CB8AC3E}">
        <p14:creationId xmlns:p14="http://schemas.microsoft.com/office/powerpoint/2010/main" val="627898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100" dirty="0"/>
              <a:t>In order to capitalize on the demand and embrace the opportunity that air cargo has during this pandemic, it is critical that we build a robust air cargo strategy. In order to do this, we must examine the pain points in order to transform the industry.  </a:t>
            </a:r>
            <a:endParaRPr lang="en-US" sz="1100" dirty="0">
              <a:highlight>
                <a:srgbClr val="FAC832"/>
              </a:highlight>
            </a:endParaRPr>
          </a:p>
        </p:txBody>
      </p:sp>
      <p:sp>
        <p:nvSpPr>
          <p:cNvPr id="4" name="Slide Number Placeholder 3"/>
          <p:cNvSpPr>
            <a:spLocks noGrp="1"/>
          </p:cNvSpPr>
          <p:nvPr>
            <p:ph type="sldNum" sz="quarter" idx="5"/>
          </p:nvPr>
        </p:nvSpPr>
        <p:spPr/>
        <p:txBody>
          <a:bodyPr/>
          <a:lstStyle/>
          <a:p>
            <a:fld id="{F17EFD21-3E0D-4ED5-96F2-31052EE08DB7}" type="slidenum">
              <a:rPr lang="en-US" smtClean="0"/>
              <a:pPr/>
              <a:t>8</a:t>
            </a:fld>
            <a:endParaRPr lang="en-US"/>
          </a:p>
        </p:txBody>
      </p:sp>
    </p:spTree>
    <p:extLst>
      <p:ext uri="{BB962C8B-B14F-4D97-AF65-F5344CB8AC3E}">
        <p14:creationId xmlns:p14="http://schemas.microsoft.com/office/powerpoint/2010/main" val="12638720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_Title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5DEED-A00F-432E-919B-A31AE102E4CC}"/>
              </a:ext>
            </a:extLst>
          </p:cNvPr>
          <p:cNvSpPr>
            <a:spLocks noGrp="1"/>
          </p:cNvSpPr>
          <p:nvPr>
            <p:ph type="ctrTitle"/>
          </p:nvPr>
        </p:nvSpPr>
        <p:spPr>
          <a:xfrm>
            <a:off x="381000" y="1485900"/>
            <a:ext cx="5904000" cy="2387600"/>
          </a:xfrm>
        </p:spPr>
        <p:txBody>
          <a:bodyPr anchor="t" anchorCtr="0"/>
          <a:lstStyle>
            <a:lvl1pPr algn="l">
              <a:lnSpc>
                <a:spcPts val="5800"/>
              </a:lnSpc>
              <a:defRPr sz="5600">
                <a:solidFill>
                  <a:schemeClr val="accent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232A637-F57B-4008-8DC2-4D2B8ECC1A66}"/>
              </a:ext>
            </a:extLst>
          </p:cNvPr>
          <p:cNvSpPr>
            <a:spLocks noGrp="1"/>
          </p:cNvSpPr>
          <p:nvPr>
            <p:ph type="subTitle" idx="1"/>
          </p:nvPr>
        </p:nvSpPr>
        <p:spPr>
          <a:xfrm>
            <a:off x="381000" y="3965575"/>
            <a:ext cx="5904000" cy="1655762"/>
          </a:xfrm>
        </p:spPr>
        <p:txBody>
          <a:bodyPr anchor="t" anchorCtr="0"/>
          <a:lstStyle>
            <a:lvl1pPr marL="0" indent="0" algn="l">
              <a:lnSpc>
                <a:spcPts val="3400"/>
              </a:lnSpc>
              <a:spcBef>
                <a:spcPts val="0"/>
              </a:spcBef>
              <a:spcAft>
                <a:spcPts val="1400"/>
              </a:spcAft>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reeform 5">
            <a:extLst>
              <a:ext uri="{FF2B5EF4-FFF2-40B4-BE49-F238E27FC236}">
                <a16:creationId xmlns:a16="http://schemas.microsoft.com/office/drawing/2014/main" id="{7013E3A3-37C5-400E-905D-C7BC5CA55E5C}"/>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8" name="Date Placeholder 7">
            <a:extLst>
              <a:ext uri="{FF2B5EF4-FFF2-40B4-BE49-F238E27FC236}">
                <a16:creationId xmlns:a16="http://schemas.microsoft.com/office/drawing/2014/main" id="{BEE11BD8-6580-41DD-940E-B1D1B8B2E210}"/>
              </a:ext>
            </a:extLst>
          </p:cNvPr>
          <p:cNvSpPr>
            <a:spLocks noGrp="1"/>
          </p:cNvSpPr>
          <p:nvPr>
            <p:ph type="dt" sz="half" idx="14"/>
          </p:nvPr>
        </p:nvSpPr>
        <p:spPr/>
        <p:txBody>
          <a:bodyPr/>
          <a:lstStyle>
            <a:lvl1pPr>
              <a:defRPr>
                <a:solidFill>
                  <a:schemeClr val="accent1"/>
                </a:solidFill>
              </a:defRPr>
            </a:lvl1pPr>
          </a:lstStyle>
          <a:p>
            <a:fld id="{D8F5EBA1-C1C2-4F6F-970D-CFE4A81E1DB0}" type="datetime3">
              <a:rPr lang="en-US" smtClean="0"/>
              <a:pPr/>
              <a:t>31 March 2021</a:t>
            </a:fld>
            <a:endParaRPr lang="en-US"/>
          </a:p>
        </p:txBody>
      </p:sp>
      <p:sp>
        <p:nvSpPr>
          <p:cNvPr id="10" name="Footer Placeholder 9">
            <a:extLst>
              <a:ext uri="{FF2B5EF4-FFF2-40B4-BE49-F238E27FC236}">
                <a16:creationId xmlns:a16="http://schemas.microsoft.com/office/drawing/2014/main" id="{897A30E8-35A3-4CE7-93BA-293D648C86FF}"/>
              </a:ext>
            </a:extLst>
          </p:cNvPr>
          <p:cNvSpPr>
            <a:spLocks noGrp="1"/>
          </p:cNvSpPr>
          <p:nvPr>
            <p:ph type="ftr" sz="quarter" idx="15"/>
          </p:nvPr>
        </p:nvSpPr>
        <p:spPr/>
        <p:txBody>
          <a:bodyPr/>
          <a:lstStyle>
            <a:lvl1pPr>
              <a:defRPr>
                <a:solidFill>
                  <a:schemeClr val="accent1"/>
                </a:solidFill>
              </a:defRPr>
            </a:lvl1pPr>
          </a:lstStyle>
          <a:p>
            <a:endParaRPr lang="en-US"/>
          </a:p>
        </p:txBody>
      </p:sp>
      <p:sp>
        <p:nvSpPr>
          <p:cNvPr id="11" name="Slide Number Placeholder 10">
            <a:extLst>
              <a:ext uri="{FF2B5EF4-FFF2-40B4-BE49-F238E27FC236}">
                <a16:creationId xmlns:a16="http://schemas.microsoft.com/office/drawing/2014/main" id="{69738BE3-1506-4C98-A8EE-0BB4912D32CC}"/>
              </a:ext>
            </a:extLst>
          </p:cNvPr>
          <p:cNvSpPr>
            <a:spLocks noGrp="1"/>
          </p:cNvSpPr>
          <p:nvPr>
            <p:ph type="sldNum" sz="quarter" idx="16"/>
          </p:nvPr>
        </p:nvSpPr>
        <p:spPr/>
        <p:txBody>
          <a:bodyPr/>
          <a:lstStyle>
            <a:lvl1pPr>
              <a:defRPr>
                <a:solidFill>
                  <a:schemeClr val="accent1"/>
                </a:solidFill>
              </a:defRPr>
            </a:lvl1pPr>
          </a:lstStyle>
          <a:p>
            <a:fld id="{1A9E565A-6679-4A67-8FB7-14EA342FD6E1}" type="slidenum">
              <a:rPr lang="en-US" smtClean="0"/>
              <a:pPr/>
              <a:t>‹#›</a:t>
            </a:fld>
            <a:endParaRPr lang="en-US"/>
          </a:p>
        </p:txBody>
      </p:sp>
    </p:spTree>
    <p:extLst>
      <p:ext uri="{BB962C8B-B14F-4D97-AF65-F5344CB8AC3E}">
        <p14:creationId xmlns:p14="http://schemas.microsoft.com/office/powerpoint/2010/main" val="13197390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_TextSlide_1-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821CC-265E-473E-BD96-BC93B6A49D4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4C4D5EE-B9EC-4B8B-B697-CD3B955461AE}"/>
              </a:ext>
            </a:extLst>
          </p:cNvPr>
          <p:cNvSpPr>
            <a:spLocks noGrp="1"/>
          </p:cNvSpPr>
          <p:nvPr>
            <p:ph idx="1" hasCustomPrompt="1"/>
          </p:nvPr>
        </p:nvSpPr>
        <p:spPr/>
        <p:txBody>
          <a:bodyPr/>
          <a:lstStyle>
            <a:lvl1pPr>
              <a:defRPr/>
            </a:lvl1pPr>
            <a:lvl2pPr>
              <a:defRPr/>
            </a:lvl2pPr>
            <a:lvl3pPr>
              <a:defRPr/>
            </a:lvl3pPr>
            <a:lvl4pPr>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lvl1pPr>
              <a:defRPr>
                <a:solidFill>
                  <a:schemeClr val="accent1"/>
                </a:solidFill>
              </a:defRPr>
            </a:lvl1pPr>
          </a:lstStyle>
          <a:p>
            <a:fld id="{198937FE-5C9B-40C9-8C55-48EB04CA346C}" type="datetime3">
              <a:rPr lang="en-US" smtClean="0"/>
              <a:pPr/>
              <a:t>31 March 2021</a:t>
            </a:fld>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a:t>
            </a:fld>
            <a:endParaRPr lang="en-US"/>
          </a:p>
        </p:txBody>
      </p:sp>
      <p:sp>
        <p:nvSpPr>
          <p:cNvPr id="7" name="Freeform 5">
            <a:extLst>
              <a:ext uri="{FF2B5EF4-FFF2-40B4-BE49-F238E27FC236}">
                <a16:creationId xmlns:a16="http://schemas.microsoft.com/office/drawing/2014/main" id="{0D518933-C06B-479E-8487-1189C2548F67}"/>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200047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WHITE_TextSlide_2-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37838-0F4C-4B60-9EA9-A72EA5539849}"/>
              </a:ext>
            </a:extLst>
          </p:cNvPr>
          <p:cNvSpPr>
            <a:spLocks noGrp="1"/>
          </p:cNvSpPr>
          <p:nvPr>
            <p:ph type="title"/>
          </p:nvPr>
        </p:nvSpPr>
        <p:spPr>
          <a:xfrm>
            <a:off x="381000" y="365125"/>
            <a:ext cx="11429324" cy="609398"/>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4CB9B81-F331-4A9C-BE92-11CAB2A6B4B3}"/>
              </a:ext>
            </a:extLst>
          </p:cNvPr>
          <p:cNvSpPr>
            <a:spLocks noGrp="1"/>
          </p:cNvSpPr>
          <p:nvPr>
            <p:ph sz="half" idx="1" hasCustomPrompt="1"/>
          </p:nvPr>
        </p:nvSpPr>
        <p:spPr>
          <a:xfrm>
            <a:off x="381676" y="1485900"/>
            <a:ext cx="5523824" cy="4267200"/>
          </a:xfrm>
        </p:spPr>
        <p:txBody>
          <a:bodyPr/>
          <a:lstStyle>
            <a:lvl1pPr>
              <a:defRPr/>
            </a:lvl1pPr>
            <a:lvl2pPr>
              <a:defRPr/>
            </a:lvl2pPr>
            <a:lvl3pPr>
              <a:defRPr/>
            </a:lvl3pPr>
            <a:lvl4pPr>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A6FE12FA-2958-4BD2-846B-0E828DE720BE}"/>
              </a:ext>
            </a:extLst>
          </p:cNvPr>
          <p:cNvSpPr>
            <a:spLocks noGrp="1"/>
          </p:cNvSpPr>
          <p:nvPr>
            <p:ph sz="half" idx="2" hasCustomPrompt="1"/>
          </p:nvPr>
        </p:nvSpPr>
        <p:spPr>
          <a:xfrm>
            <a:off x="6287176" y="1485900"/>
            <a:ext cx="5523824" cy="4267200"/>
          </a:xfrm>
        </p:spPr>
        <p:txBody>
          <a:bodyPr/>
          <a:lstStyle>
            <a:lvl1pPr>
              <a:defRPr/>
            </a:lvl1pPr>
            <a:lvl2pPr>
              <a:defRPr/>
            </a:lvl2pPr>
            <a:lvl3pPr>
              <a:defRPr/>
            </a:lvl3pPr>
            <a:lvl4pPr>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Date Placeholder 4">
            <a:extLst>
              <a:ext uri="{FF2B5EF4-FFF2-40B4-BE49-F238E27FC236}">
                <a16:creationId xmlns:a16="http://schemas.microsoft.com/office/drawing/2014/main" id="{AA5227B3-9D23-4B0B-B20D-E90AB0E09E52}"/>
              </a:ext>
            </a:extLst>
          </p:cNvPr>
          <p:cNvSpPr>
            <a:spLocks noGrp="1"/>
          </p:cNvSpPr>
          <p:nvPr>
            <p:ph type="dt" sz="half" idx="10"/>
          </p:nvPr>
        </p:nvSpPr>
        <p:spPr/>
        <p:txBody>
          <a:bodyPr/>
          <a:lstStyle>
            <a:lvl1pPr>
              <a:defRPr>
                <a:solidFill>
                  <a:schemeClr val="accent1"/>
                </a:solidFill>
              </a:defRPr>
            </a:lvl1pPr>
          </a:lstStyle>
          <a:p>
            <a:fld id="{97C326BA-A1F7-4E33-88FC-B76359D35FF4}" type="datetime3">
              <a:rPr lang="en-US" smtClean="0"/>
              <a:pPr/>
              <a:t>31 March 2021</a:t>
            </a:fld>
            <a:endParaRPr lang="en-US"/>
          </a:p>
        </p:txBody>
      </p:sp>
      <p:sp>
        <p:nvSpPr>
          <p:cNvPr id="6" name="Footer Placeholder 5">
            <a:extLst>
              <a:ext uri="{FF2B5EF4-FFF2-40B4-BE49-F238E27FC236}">
                <a16:creationId xmlns:a16="http://schemas.microsoft.com/office/drawing/2014/main" id="{3AF83FD3-9274-482A-8C94-F5BC022606D3}"/>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7" name="Slide Number Placeholder 6">
            <a:extLst>
              <a:ext uri="{FF2B5EF4-FFF2-40B4-BE49-F238E27FC236}">
                <a16:creationId xmlns:a16="http://schemas.microsoft.com/office/drawing/2014/main" id="{ECC19CC5-1292-4F3E-AC14-45654E86320F}"/>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a:t>
            </a:fld>
            <a:endParaRPr lang="en-US"/>
          </a:p>
        </p:txBody>
      </p:sp>
      <p:sp>
        <p:nvSpPr>
          <p:cNvPr id="8" name="Freeform 5">
            <a:extLst>
              <a:ext uri="{FF2B5EF4-FFF2-40B4-BE49-F238E27FC236}">
                <a16:creationId xmlns:a16="http://schemas.microsoft.com/office/drawing/2014/main" id="{5B7B4106-2F1F-45B9-9A64-FAC3DF7E09F5}"/>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0071345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WHITE_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D976F-6FAA-4B37-814C-E2540D4155CD}"/>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Date Placeholder 2">
            <a:extLst>
              <a:ext uri="{FF2B5EF4-FFF2-40B4-BE49-F238E27FC236}">
                <a16:creationId xmlns:a16="http://schemas.microsoft.com/office/drawing/2014/main" id="{0F0BFC25-F2D8-40D7-96BA-C0F78F6A687A}"/>
              </a:ext>
            </a:extLst>
          </p:cNvPr>
          <p:cNvSpPr>
            <a:spLocks noGrp="1"/>
          </p:cNvSpPr>
          <p:nvPr>
            <p:ph type="dt" sz="half" idx="10"/>
          </p:nvPr>
        </p:nvSpPr>
        <p:spPr/>
        <p:txBody>
          <a:bodyPr/>
          <a:lstStyle>
            <a:lvl1pPr>
              <a:defRPr>
                <a:solidFill>
                  <a:schemeClr val="accent1"/>
                </a:solidFill>
              </a:defRPr>
            </a:lvl1pPr>
          </a:lstStyle>
          <a:p>
            <a:fld id="{F82CEB40-7C69-47E5-9106-E566935D3F53}" type="datetime3">
              <a:rPr lang="en-US" smtClean="0"/>
              <a:pPr/>
              <a:t>31 March 2021</a:t>
            </a:fld>
            <a:endParaRPr lang="en-US"/>
          </a:p>
        </p:txBody>
      </p:sp>
      <p:sp>
        <p:nvSpPr>
          <p:cNvPr id="4" name="Footer Placeholder 3">
            <a:extLst>
              <a:ext uri="{FF2B5EF4-FFF2-40B4-BE49-F238E27FC236}">
                <a16:creationId xmlns:a16="http://schemas.microsoft.com/office/drawing/2014/main" id="{D0EEA34B-ADB0-4A9B-A944-DB4F9AB7A20C}"/>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5" name="Slide Number Placeholder 4">
            <a:extLst>
              <a:ext uri="{FF2B5EF4-FFF2-40B4-BE49-F238E27FC236}">
                <a16:creationId xmlns:a16="http://schemas.microsoft.com/office/drawing/2014/main" id="{E72EE72B-8C4F-4C4B-8E3A-D7A4D706EB14}"/>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a:t>
            </a:fld>
            <a:endParaRPr lang="en-US"/>
          </a:p>
        </p:txBody>
      </p:sp>
      <p:sp>
        <p:nvSpPr>
          <p:cNvPr id="6" name="Freeform 5">
            <a:extLst>
              <a:ext uri="{FF2B5EF4-FFF2-40B4-BE49-F238E27FC236}">
                <a16:creationId xmlns:a16="http://schemas.microsoft.com/office/drawing/2014/main" id="{9E037E20-29EF-410F-AA70-D50FAE88B30D}"/>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019912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WHITE_Blank">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1A86010D-9F01-497B-8478-6CF04E7FA292}"/>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Date Placeholder 5">
            <a:extLst>
              <a:ext uri="{FF2B5EF4-FFF2-40B4-BE49-F238E27FC236}">
                <a16:creationId xmlns:a16="http://schemas.microsoft.com/office/drawing/2014/main" id="{358FB484-E257-4956-8FB5-C4732E104901}"/>
              </a:ext>
            </a:extLst>
          </p:cNvPr>
          <p:cNvSpPr>
            <a:spLocks noGrp="1"/>
          </p:cNvSpPr>
          <p:nvPr>
            <p:ph type="dt" sz="half" idx="10"/>
          </p:nvPr>
        </p:nvSpPr>
        <p:spPr/>
        <p:txBody>
          <a:bodyPr/>
          <a:lstStyle>
            <a:lvl1pPr>
              <a:defRPr>
                <a:solidFill>
                  <a:schemeClr val="accent1"/>
                </a:solidFill>
              </a:defRPr>
            </a:lvl1pPr>
          </a:lstStyle>
          <a:p>
            <a:fld id="{D8F5EBA1-C1C2-4F6F-970D-CFE4A81E1DB0}" type="datetime3">
              <a:rPr lang="en-US" smtClean="0"/>
              <a:pPr/>
              <a:t>31 March 2021</a:t>
            </a:fld>
            <a:endParaRPr lang="en-US"/>
          </a:p>
        </p:txBody>
      </p:sp>
      <p:sp>
        <p:nvSpPr>
          <p:cNvPr id="7" name="Footer Placeholder 6">
            <a:extLst>
              <a:ext uri="{FF2B5EF4-FFF2-40B4-BE49-F238E27FC236}">
                <a16:creationId xmlns:a16="http://schemas.microsoft.com/office/drawing/2014/main" id="{9AF5AAFD-95B3-4157-BBB5-7CC40DB355FC}"/>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8" name="Slide Number Placeholder 7">
            <a:extLst>
              <a:ext uri="{FF2B5EF4-FFF2-40B4-BE49-F238E27FC236}">
                <a16:creationId xmlns:a16="http://schemas.microsoft.com/office/drawing/2014/main" id="{BA34BD8F-0033-4927-AA44-05B0484E30FA}"/>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a:t>
            </a:fld>
            <a:endParaRPr lang="en-US"/>
          </a:p>
        </p:txBody>
      </p:sp>
    </p:spTree>
    <p:extLst>
      <p:ext uri="{BB962C8B-B14F-4D97-AF65-F5344CB8AC3E}">
        <p14:creationId xmlns:p14="http://schemas.microsoft.com/office/powerpoint/2010/main" val="38274474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ITE_ThankYou-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BB8F16C-570A-470A-AC41-3DFDC1411C30}"/>
              </a:ext>
            </a:extLst>
          </p:cNvPr>
          <p:cNvSpPr>
            <a:spLocks noGrp="1"/>
          </p:cNvSpPr>
          <p:nvPr>
            <p:ph type="pic" sz="quarter" idx="13"/>
          </p:nvPr>
        </p:nvSpPr>
        <p:spPr>
          <a:xfrm>
            <a:off x="6448425" y="0"/>
            <a:ext cx="5753100" cy="5753100"/>
          </a:xfrm>
          <a:custGeom>
            <a:avLst/>
            <a:gdLst>
              <a:gd name="connsiteX0" fmla="*/ 0 w 5753100"/>
              <a:gd name="connsiteY0" fmla="*/ 0 h 5753100"/>
              <a:gd name="connsiteX1" fmla="*/ 5753100 w 5753100"/>
              <a:gd name="connsiteY1" fmla="*/ 0 h 5753100"/>
              <a:gd name="connsiteX2" fmla="*/ 5753100 w 5753100"/>
              <a:gd name="connsiteY2" fmla="*/ 5753100 h 5753100"/>
              <a:gd name="connsiteX3" fmla="*/ 5742127 w 5753100"/>
              <a:gd name="connsiteY3" fmla="*/ 5753100 h 5753100"/>
              <a:gd name="connsiteX4" fmla="*/ 4388 w 5753100"/>
              <a:gd name="connsiteY4" fmla="*/ 297076 h 5753100"/>
              <a:gd name="connsiteX5" fmla="*/ 0 w 5753100"/>
              <a:gd name="connsiteY5" fmla="*/ 123264 h 57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5753100">
                <a:moveTo>
                  <a:pt x="0" y="0"/>
                </a:moveTo>
                <a:lnTo>
                  <a:pt x="5753100" y="0"/>
                </a:lnTo>
                <a:lnTo>
                  <a:pt x="5753100" y="5753100"/>
                </a:lnTo>
                <a:lnTo>
                  <a:pt x="5742127" y="5753100"/>
                </a:lnTo>
                <a:cubicBezTo>
                  <a:pt x="2667478" y="5753100"/>
                  <a:pt x="158214" y="3337026"/>
                  <a:pt x="4388" y="297076"/>
                </a:cubicBezTo>
                <a:lnTo>
                  <a:pt x="0" y="123264"/>
                </a:lnTo>
                <a:close/>
              </a:path>
            </a:pathLst>
          </a:custGeom>
          <a:solidFill>
            <a:schemeClr val="bg2">
              <a:lumMod val="90000"/>
            </a:schemeClr>
          </a:solidFill>
        </p:spPr>
        <p:txBody>
          <a:bodyPr wrap="square" anchor="ctr" anchorCtr="0">
            <a:noAutofit/>
          </a:bodyPr>
          <a:lstStyle>
            <a:lvl1pPr algn="ctr">
              <a:defRPr/>
            </a:lvl1pPr>
          </a:lstStyle>
          <a:p>
            <a:r>
              <a:rPr lang="en-US"/>
              <a:t>Click icon to add picture</a:t>
            </a:r>
          </a:p>
        </p:txBody>
      </p:sp>
      <p:sp>
        <p:nvSpPr>
          <p:cNvPr id="4" name="Date Placeholder 3">
            <a:extLst>
              <a:ext uri="{FF2B5EF4-FFF2-40B4-BE49-F238E27FC236}">
                <a16:creationId xmlns:a16="http://schemas.microsoft.com/office/drawing/2014/main" id="{6FDAC0F2-E162-4565-9679-1193BED926EA}"/>
              </a:ext>
            </a:extLst>
          </p:cNvPr>
          <p:cNvSpPr>
            <a:spLocks noGrp="1"/>
          </p:cNvSpPr>
          <p:nvPr>
            <p:ph type="dt" sz="half" idx="10"/>
          </p:nvPr>
        </p:nvSpPr>
        <p:spPr/>
        <p:txBody>
          <a:bodyPr/>
          <a:lstStyle>
            <a:lvl1pPr>
              <a:defRPr>
                <a:solidFill>
                  <a:schemeClr val="accent1"/>
                </a:solidFill>
              </a:defRPr>
            </a:lvl1pPr>
          </a:lstStyle>
          <a:p>
            <a:fld id="{547513D5-8313-4D89-8E49-067C97135D8A}" type="datetime3">
              <a:rPr lang="en-US" smtClean="0"/>
              <a:pPr/>
              <a:t>31 March 2021</a:t>
            </a:fld>
            <a:endParaRPr lang="en-US"/>
          </a:p>
        </p:txBody>
      </p:sp>
      <p:sp>
        <p:nvSpPr>
          <p:cNvPr id="5" name="Footer Placeholder 4">
            <a:extLst>
              <a:ext uri="{FF2B5EF4-FFF2-40B4-BE49-F238E27FC236}">
                <a16:creationId xmlns:a16="http://schemas.microsoft.com/office/drawing/2014/main" id="{65EF2AD9-AF82-4B19-803C-572B453632B5}"/>
              </a:ext>
            </a:extLst>
          </p:cNvPr>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8AE3A021-2616-4326-A4F5-4398F8F6104D}"/>
              </a:ext>
            </a:extLst>
          </p:cNvPr>
          <p:cNvSpPr>
            <a:spLocks noGrp="1"/>
          </p:cNvSpPr>
          <p:nvPr>
            <p:ph type="sldNum" sz="quarter" idx="12"/>
          </p:nvPr>
        </p:nvSpPr>
        <p:spPr/>
        <p:txBody>
          <a:bodyPr/>
          <a:lstStyle>
            <a:lvl1pPr>
              <a:defRPr>
                <a:solidFill>
                  <a:schemeClr val="accent1"/>
                </a:solidFill>
              </a:defRPr>
            </a:lvl1pPr>
          </a:lstStyle>
          <a:p>
            <a:fld id="{1A9E565A-6679-4A67-8FB7-14EA342FD6E1}" type="slidenum">
              <a:rPr lang="en-US" smtClean="0"/>
              <a:pPr/>
              <a:t>‹#›</a:t>
            </a:fld>
            <a:endParaRPr lang="en-US"/>
          </a:p>
        </p:txBody>
      </p:sp>
      <p:sp>
        <p:nvSpPr>
          <p:cNvPr id="7" name="Title 1">
            <a:extLst>
              <a:ext uri="{FF2B5EF4-FFF2-40B4-BE49-F238E27FC236}">
                <a16:creationId xmlns:a16="http://schemas.microsoft.com/office/drawing/2014/main" id="{587FC103-9DE1-4F89-B054-F6510798AE30}"/>
              </a:ext>
            </a:extLst>
          </p:cNvPr>
          <p:cNvSpPr>
            <a:spLocks noGrp="1"/>
          </p:cNvSpPr>
          <p:nvPr>
            <p:ph type="title" hasCustomPrompt="1"/>
          </p:nvPr>
        </p:nvSpPr>
        <p:spPr>
          <a:xfrm>
            <a:off x="381000" y="381000"/>
            <a:ext cx="4736592" cy="3048000"/>
          </a:xfrm>
        </p:spPr>
        <p:txBody>
          <a:bodyPr anchor="t" anchorCtr="0"/>
          <a:lstStyle>
            <a:lvl1pPr>
              <a:defRPr sz="5400">
                <a:solidFill>
                  <a:schemeClr val="accent1"/>
                </a:solidFill>
              </a:defRPr>
            </a:lvl1pPr>
          </a:lstStyle>
          <a:p>
            <a:r>
              <a:rPr lang="en-US"/>
              <a:t>Click to edit thank you style</a:t>
            </a:r>
          </a:p>
        </p:txBody>
      </p:sp>
      <p:sp>
        <p:nvSpPr>
          <p:cNvPr id="8" name="Content Placeholder 2">
            <a:extLst>
              <a:ext uri="{FF2B5EF4-FFF2-40B4-BE49-F238E27FC236}">
                <a16:creationId xmlns:a16="http://schemas.microsoft.com/office/drawing/2014/main" id="{1455B940-1A19-45DC-8F22-530EFA8E4ADA}"/>
              </a:ext>
            </a:extLst>
          </p:cNvPr>
          <p:cNvSpPr>
            <a:spLocks noGrp="1"/>
          </p:cNvSpPr>
          <p:nvPr>
            <p:ph sz="half" idx="1" hasCustomPrompt="1"/>
          </p:nvPr>
        </p:nvSpPr>
        <p:spPr>
          <a:xfrm>
            <a:off x="381000" y="3429000"/>
            <a:ext cx="4736592" cy="2438536"/>
          </a:xfrm>
        </p:spPr>
        <p:txBody>
          <a:bodyPr/>
          <a:lstStyle>
            <a:lvl1pPr>
              <a:defRPr/>
            </a:lvl1pPr>
          </a:lstStyle>
          <a:p>
            <a:pPr lvl="0"/>
            <a:r>
              <a:rPr lang="en-US"/>
              <a:t>Edit contact or sign off information</a:t>
            </a:r>
          </a:p>
        </p:txBody>
      </p:sp>
      <p:sp>
        <p:nvSpPr>
          <p:cNvPr id="9" name="Freeform 5">
            <a:extLst>
              <a:ext uri="{FF2B5EF4-FFF2-40B4-BE49-F238E27FC236}">
                <a16:creationId xmlns:a16="http://schemas.microsoft.com/office/drawing/2014/main" id="{0F5EA913-91DE-4286-B6E6-13E414E82212}"/>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240509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WHITE-PHOTO-4_Title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E9D88FC-E98C-4EEA-8137-242BC843512F}"/>
              </a:ext>
            </a:extLst>
          </p:cNvPr>
          <p:cNvSpPr>
            <a:spLocks noGrp="1"/>
          </p:cNvSpPr>
          <p:nvPr>
            <p:ph type="pic" sz="quarter" idx="13"/>
          </p:nvPr>
        </p:nvSpPr>
        <p:spPr>
          <a:xfrm>
            <a:off x="4619057" y="0"/>
            <a:ext cx="6849789" cy="6858000"/>
          </a:xfrm>
          <a:custGeom>
            <a:avLst/>
            <a:gdLst>
              <a:gd name="connsiteX0" fmla="*/ 3424894 w 6849789"/>
              <a:gd name="connsiteY0" fmla="*/ 0 h 6858000"/>
              <a:gd name="connsiteX1" fmla="*/ 6849789 w 6849789"/>
              <a:gd name="connsiteY1" fmla="*/ 3429000 h 6858000"/>
              <a:gd name="connsiteX2" fmla="*/ 3424894 w 6849789"/>
              <a:gd name="connsiteY2" fmla="*/ 6858000 h 6858000"/>
              <a:gd name="connsiteX3" fmla="*/ 4456 w 6849789"/>
              <a:gd name="connsiteY3" fmla="*/ 3605456 h 6858000"/>
              <a:gd name="connsiteX4" fmla="*/ 0 w 6849789"/>
              <a:gd name="connsiteY4" fmla="*/ 3429041 h 6858000"/>
              <a:gd name="connsiteX5" fmla="*/ 0 w 6849789"/>
              <a:gd name="connsiteY5" fmla="*/ 3428960 h 6858000"/>
              <a:gd name="connsiteX6" fmla="*/ 4456 w 6849789"/>
              <a:gd name="connsiteY6" fmla="*/ 3252544 h 6858000"/>
              <a:gd name="connsiteX7" fmla="*/ 3424894 w 6849789"/>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49789" h="6858000">
                <a:moveTo>
                  <a:pt x="3424894" y="0"/>
                </a:moveTo>
                <a:cubicBezTo>
                  <a:pt x="5316411" y="0"/>
                  <a:pt x="6849789" y="1535216"/>
                  <a:pt x="6849789" y="3429000"/>
                </a:cubicBezTo>
                <a:cubicBezTo>
                  <a:pt x="6849789" y="5322784"/>
                  <a:pt x="5316411" y="6858000"/>
                  <a:pt x="3424894" y="6858000"/>
                </a:cubicBezTo>
                <a:cubicBezTo>
                  <a:pt x="1592487" y="6858000"/>
                  <a:pt x="96185" y="5417236"/>
                  <a:pt x="4456" y="3605456"/>
                </a:cubicBezTo>
                <a:lnTo>
                  <a:pt x="0" y="3429041"/>
                </a:lnTo>
                <a:lnTo>
                  <a:pt x="0" y="3428960"/>
                </a:lnTo>
                <a:lnTo>
                  <a:pt x="4456" y="3252544"/>
                </a:lnTo>
                <a:cubicBezTo>
                  <a:pt x="96185" y="1440764"/>
                  <a:pt x="1592487" y="0"/>
                  <a:pt x="3424894" y="0"/>
                </a:cubicBezTo>
                <a:close/>
              </a:path>
            </a:pathLst>
          </a:custGeom>
          <a:solidFill>
            <a:schemeClr val="bg2">
              <a:lumMod val="90000"/>
            </a:schemeClr>
          </a:solidFill>
        </p:spPr>
        <p:txBody>
          <a:bodyPr wrap="square" anchor="ctr" anchorCtr="0">
            <a:noAutofit/>
          </a:bodyPr>
          <a:lstStyle>
            <a:lvl1pPr algn="ctr">
              <a:defRPr/>
            </a:lvl1pPr>
          </a:lstStyle>
          <a:p>
            <a:r>
              <a:rPr lang="en-US"/>
              <a:t>Click icon to add picture</a:t>
            </a:r>
          </a:p>
        </p:txBody>
      </p:sp>
      <p:sp>
        <p:nvSpPr>
          <p:cNvPr id="2" name="Title 1">
            <a:extLst>
              <a:ext uri="{FF2B5EF4-FFF2-40B4-BE49-F238E27FC236}">
                <a16:creationId xmlns:a16="http://schemas.microsoft.com/office/drawing/2014/main" id="{B7E5DEED-A00F-432E-919B-A31AE102E4CC}"/>
              </a:ext>
            </a:extLst>
          </p:cNvPr>
          <p:cNvSpPr>
            <a:spLocks noGrp="1"/>
          </p:cNvSpPr>
          <p:nvPr>
            <p:ph type="ctrTitle"/>
          </p:nvPr>
        </p:nvSpPr>
        <p:spPr>
          <a:xfrm>
            <a:off x="381000" y="1485900"/>
            <a:ext cx="4238057" cy="2387600"/>
          </a:xfrm>
        </p:spPr>
        <p:txBody>
          <a:bodyPr anchor="t" anchorCtr="0"/>
          <a:lstStyle>
            <a:lvl1pPr algn="l">
              <a:lnSpc>
                <a:spcPts val="5800"/>
              </a:lnSpc>
              <a:defRPr sz="5600">
                <a:solidFill>
                  <a:schemeClr val="accent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232A637-F57B-4008-8DC2-4D2B8ECC1A66}"/>
              </a:ext>
            </a:extLst>
          </p:cNvPr>
          <p:cNvSpPr>
            <a:spLocks noGrp="1"/>
          </p:cNvSpPr>
          <p:nvPr>
            <p:ph type="subTitle" idx="1"/>
          </p:nvPr>
        </p:nvSpPr>
        <p:spPr>
          <a:xfrm>
            <a:off x="381000" y="3965575"/>
            <a:ext cx="4238057" cy="1655762"/>
          </a:xfrm>
        </p:spPr>
        <p:txBody>
          <a:bodyPr anchor="t" anchorCtr="0"/>
          <a:lstStyle>
            <a:lvl1pPr marL="0" indent="0" algn="l">
              <a:lnSpc>
                <a:spcPts val="3400"/>
              </a:lnSpc>
              <a:spcBef>
                <a:spcPts val="0"/>
              </a:spcBef>
              <a:spcAft>
                <a:spcPts val="1400"/>
              </a:spcAft>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F28916-E41E-452F-9B34-7E89E62D1E1C}"/>
              </a:ext>
            </a:extLst>
          </p:cNvPr>
          <p:cNvSpPr>
            <a:spLocks noGrp="1"/>
          </p:cNvSpPr>
          <p:nvPr>
            <p:ph type="dt" sz="half" idx="10"/>
          </p:nvPr>
        </p:nvSpPr>
        <p:spPr>
          <a:xfrm>
            <a:off x="381000" y="6162324"/>
            <a:ext cx="2743200" cy="365125"/>
          </a:xfrm>
        </p:spPr>
        <p:txBody>
          <a:bodyPr/>
          <a:lstStyle>
            <a:lvl1pPr>
              <a:defRPr>
                <a:solidFill>
                  <a:schemeClr val="accent1"/>
                </a:solidFill>
              </a:defRPr>
            </a:lvl1pPr>
          </a:lstStyle>
          <a:p>
            <a:fld id="{E76394B6-F0B0-4900-A86B-2184939B3D6C}" type="datetime3">
              <a:rPr lang="en-US"/>
              <a:pPr/>
              <a:t>31 March 2021</a:t>
            </a:fld>
            <a:endParaRPr lang="en-US"/>
          </a:p>
        </p:txBody>
      </p:sp>
      <p:sp>
        <p:nvSpPr>
          <p:cNvPr id="7" name="Freeform 5">
            <a:extLst>
              <a:ext uri="{FF2B5EF4-FFF2-40B4-BE49-F238E27FC236}">
                <a16:creationId xmlns:a16="http://schemas.microsoft.com/office/drawing/2014/main" id="{7013E3A3-37C5-400E-905D-C7BC5CA55E5C}"/>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99604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1DE7C4-EADF-49A5-94C9-295DA7102A36}"/>
              </a:ext>
            </a:extLst>
          </p:cNvPr>
          <p:cNvSpPr>
            <a:spLocks noGrp="1"/>
          </p:cNvSpPr>
          <p:nvPr>
            <p:ph type="title"/>
          </p:nvPr>
        </p:nvSpPr>
        <p:spPr>
          <a:xfrm>
            <a:off x="381000" y="365125"/>
            <a:ext cx="11429324" cy="60939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6015A1F1-8128-4C7E-90C2-0A9DA95A353A}"/>
              </a:ext>
            </a:extLst>
          </p:cNvPr>
          <p:cNvSpPr>
            <a:spLocks noGrp="1"/>
          </p:cNvSpPr>
          <p:nvPr>
            <p:ph type="body" idx="1"/>
          </p:nvPr>
        </p:nvSpPr>
        <p:spPr>
          <a:xfrm>
            <a:off x="380999" y="1485900"/>
            <a:ext cx="11429325" cy="4267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5D38B6-3878-4DD8-B8F9-92C491ABF8F5}"/>
              </a:ext>
            </a:extLst>
          </p:cNvPr>
          <p:cNvSpPr>
            <a:spLocks noGrp="1"/>
          </p:cNvSpPr>
          <p:nvPr>
            <p:ph type="dt" sz="half" idx="2"/>
          </p:nvPr>
        </p:nvSpPr>
        <p:spPr>
          <a:xfrm>
            <a:off x="6286500" y="6162324"/>
            <a:ext cx="2743200" cy="365125"/>
          </a:xfrm>
          <a:prstGeom prst="rect">
            <a:avLst/>
          </a:prstGeom>
        </p:spPr>
        <p:txBody>
          <a:bodyPr vert="horz" lIns="0" tIns="0" rIns="0" bIns="0" rtlCol="0" anchor="b" anchorCtr="0"/>
          <a:lstStyle>
            <a:lvl1pPr algn="l">
              <a:defRPr sz="1400">
                <a:solidFill>
                  <a:schemeClr val="accent1"/>
                </a:solidFill>
              </a:defRPr>
            </a:lvl1pPr>
          </a:lstStyle>
          <a:p>
            <a:fld id="{D8F5EBA1-C1C2-4F6F-970D-CFE4A81E1DB0}" type="datetime3">
              <a:rPr lang="en-US" smtClean="0"/>
              <a:pPr/>
              <a:t>31 March 2021</a:t>
            </a:fld>
            <a:endParaRPr lang="en-US"/>
          </a:p>
        </p:txBody>
      </p:sp>
      <p:sp>
        <p:nvSpPr>
          <p:cNvPr id="5" name="Footer Placeholder 4">
            <a:extLst>
              <a:ext uri="{FF2B5EF4-FFF2-40B4-BE49-F238E27FC236}">
                <a16:creationId xmlns:a16="http://schemas.microsoft.com/office/drawing/2014/main" id="{77054503-8F56-486A-BEEB-415EA4A643B4}"/>
              </a:ext>
            </a:extLst>
          </p:cNvPr>
          <p:cNvSpPr>
            <a:spLocks noGrp="1"/>
          </p:cNvSpPr>
          <p:nvPr>
            <p:ph type="ftr" sz="quarter" idx="3"/>
          </p:nvPr>
        </p:nvSpPr>
        <p:spPr>
          <a:xfrm>
            <a:off x="955370" y="6162324"/>
            <a:ext cx="4950130" cy="365125"/>
          </a:xfrm>
          <a:prstGeom prst="rect">
            <a:avLst/>
          </a:prstGeom>
        </p:spPr>
        <p:txBody>
          <a:bodyPr vert="horz" lIns="0" tIns="0" rIns="0" bIns="0" rtlCol="0" anchor="b" anchorCtr="0"/>
          <a:lstStyle>
            <a:lvl1pPr algn="l">
              <a:defRPr sz="14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CC259C21-CE9A-4D3A-AB80-ABF8F4D8A7F2}"/>
              </a:ext>
            </a:extLst>
          </p:cNvPr>
          <p:cNvSpPr>
            <a:spLocks noGrp="1"/>
          </p:cNvSpPr>
          <p:nvPr>
            <p:ph type="sldNum" sz="quarter" idx="4"/>
          </p:nvPr>
        </p:nvSpPr>
        <p:spPr>
          <a:xfrm>
            <a:off x="381000" y="6162324"/>
            <a:ext cx="457200" cy="365125"/>
          </a:xfrm>
          <a:prstGeom prst="rect">
            <a:avLst/>
          </a:prstGeom>
        </p:spPr>
        <p:txBody>
          <a:bodyPr vert="horz" lIns="0" tIns="0" rIns="0" bIns="0" rtlCol="0" anchor="b" anchorCtr="0"/>
          <a:lstStyle>
            <a:lvl1pPr algn="l">
              <a:defRPr sz="1400">
                <a:solidFill>
                  <a:schemeClr val="accent1"/>
                </a:solidFill>
              </a:defRPr>
            </a:lvl1pPr>
          </a:lstStyle>
          <a:p>
            <a:fld id="{1A9E565A-6679-4A67-8FB7-14EA342FD6E1}" type="slidenum">
              <a:rPr lang="en-US" smtClean="0"/>
              <a:pPr/>
              <a:t>‹#›</a:t>
            </a:fld>
            <a:endParaRPr lang="en-US"/>
          </a:p>
        </p:txBody>
      </p:sp>
    </p:spTree>
    <p:extLst>
      <p:ext uri="{BB962C8B-B14F-4D97-AF65-F5344CB8AC3E}">
        <p14:creationId xmlns:p14="http://schemas.microsoft.com/office/powerpoint/2010/main" val="3232202241"/>
      </p:ext>
    </p:extLst>
  </p:cSld>
  <p:clrMap bg1="lt1" tx1="dk1" bg2="lt2" tx2="dk2" accent1="accent1" accent2="accent2" accent3="accent3" accent4="accent4" accent5="accent5" accent6="accent6" hlink="hlink" folHlink="folHlink"/>
  <p:sldLayoutIdLst>
    <p:sldLayoutId id="2147483899" r:id="rId1"/>
    <p:sldLayoutId id="2147483650" r:id="rId2"/>
    <p:sldLayoutId id="2147483652" r:id="rId3"/>
    <p:sldLayoutId id="2147483654" r:id="rId4"/>
    <p:sldLayoutId id="2147483655" r:id="rId5"/>
    <p:sldLayoutId id="2147483791" r:id="rId6"/>
    <p:sldLayoutId id="2147483900" r:id="rId7"/>
  </p:sldLayoutIdLst>
  <p:transition>
    <p:fade/>
  </p:transition>
  <p:hf hdr="0"/>
  <p:txStyles>
    <p:titleStyle>
      <a:lvl1pPr algn="l" defTabSz="914400" rtl="0" eaLnBrk="1" latinLnBrk="0" hangingPunct="1">
        <a:lnSpc>
          <a:spcPct val="90000"/>
        </a:lnSpc>
        <a:spcBef>
          <a:spcPct val="0"/>
        </a:spcBef>
        <a:buNone/>
        <a:defRPr sz="4400" kern="1200">
          <a:solidFill>
            <a:schemeClr val="accent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40" userDrawn="1">
          <p15:clr>
            <a:srgbClr val="5ACBF0"/>
          </p15:clr>
        </p15:guide>
        <p15:guide id="4" pos="240" userDrawn="1">
          <p15:clr>
            <a:srgbClr val="5ACBF0"/>
          </p15:clr>
        </p15:guide>
        <p15:guide id="5" pos="7440" userDrawn="1">
          <p15:clr>
            <a:srgbClr val="5ACBF0"/>
          </p15:clr>
        </p15:guide>
        <p15:guide id="6" pos="3720" userDrawn="1">
          <p15:clr>
            <a:srgbClr val="5ACBF0"/>
          </p15:clr>
        </p15:guide>
        <p15:guide id="7" pos="3960" userDrawn="1">
          <p15:clr>
            <a:srgbClr val="5ACBF0"/>
          </p15:clr>
        </p15:guide>
        <p15:guide id="8" orient="horz" pos="528" userDrawn="1">
          <p15:clr>
            <a:srgbClr val="5ACBF0"/>
          </p15:clr>
        </p15:guide>
        <p15:guide id="9" orient="horz" pos="936" userDrawn="1">
          <p15:clr>
            <a:srgbClr val="5ACBF0"/>
          </p15:clr>
        </p15:guide>
        <p15:guide id="10" orient="horz" pos="3624" userDrawn="1">
          <p15:clr>
            <a:srgbClr val="5ACBF0"/>
          </p15:clr>
        </p15:guide>
        <p15:guide id="11" orient="horz" pos="4080" userDrawn="1">
          <p15:clr>
            <a:srgbClr val="5ACBF0"/>
          </p15:clr>
        </p15:guide>
        <p15:guide id="12" orient="horz" pos="1200"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jpe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chart" Target="../charts/chart1.xml"/><Relationship Id="rId4" Type="http://schemas.openxmlformats.org/officeDocument/2006/relationships/hyperlink" Target="https://www.emarketer.com/" TargetMode="Externa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comments" Target="../comments/comment2.xml"/><Relationship Id="rId4" Type="http://schemas.openxmlformats.org/officeDocument/2006/relationships/hyperlink" Target="http://www.iata.org/ecommerc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
            <a:extLst>
              <a:ext uri="{FF2B5EF4-FFF2-40B4-BE49-F238E27FC236}">
                <a16:creationId xmlns:a16="http://schemas.microsoft.com/office/drawing/2014/main" id="{6ADE2A87-8B76-4676-B123-538363DCBFE0}"/>
              </a:ext>
            </a:extLst>
          </p:cNvPr>
          <p:cNvPicPr>
            <a:picLocks noGrp="1" noChangeAspect="1"/>
          </p:cNvPicPr>
          <p:nvPr>
            <p:ph type="pic" sz="quarter" idx="13"/>
            <p:custDataLst>
              <p:tags r:id="rId2"/>
            </p:custDataLst>
          </p:nvPr>
        </p:nvPicPr>
        <p:blipFill rotWithShape="1">
          <a:blip r:embed="rId4">
            <a:extLst>
              <a:ext uri="{28A0092B-C50C-407E-A947-70E740481C1C}">
                <a14:useLocalDpi xmlns:a14="http://schemas.microsoft.com/office/drawing/2010/main" val="0"/>
              </a:ext>
            </a:extLst>
          </a:blip>
          <a:srcRect l="22455" t="-266" r="11125" b="266"/>
          <a:stretch/>
        </p:blipFill>
        <p:spPr>
          <a:xfrm>
            <a:off x="4619057" y="0"/>
            <a:ext cx="6849789" cy="6858000"/>
          </a:xfrm>
        </p:spPr>
      </p:pic>
      <p:sp>
        <p:nvSpPr>
          <p:cNvPr id="3" name="Title 2">
            <a:extLst>
              <a:ext uri="{FF2B5EF4-FFF2-40B4-BE49-F238E27FC236}">
                <a16:creationId xmlns:a16="http://schemas.microsoft.com/office/drawing/2014/main" id="{4FB6A4CA-F2F5-49F4-AA06-82F8263F6913}"/>
              </a:ext>
            </a:extLst>
          </p:cNvPr>
          <p:cNvSpPr>
            <a:spLocks noGrp="1"/>
          </p:cNvSpPr>
          <p:nvPr>
            <p:ph type="ctrTitle"/>
          </p:nvPr>
        </p:nvSpPr>
        <p:spPr>
          <a:xfrm>
            <a:off x="380999" y="1485900"/>
            <a:ext cx="4802155" cy="901700"/>
          </a:xfrm>
        </p:spPr>
        <p:txBody>
          <a:bodyPr/>
          <a:lstStyle/>
          <a:p>
            <a:r>
              <a:rPr lang="en-US"/>
              <a:t>e-Commerce</a:t>
            </a:r>
            <a:endParaRPr lang="en-GB"/>
          </a:p>
        </p:txBody>
      </p:sp>
      <p:sp>
        <p:nvSpPr>
          <p:cNvPr id="4" name="Subtitle 3">
            <a:extLst>
              <a:ext uri="{FF2B5EF4-FFF2-40B4-BE49-F238E27FC236}">
                <a16:creationId xmlns:a16="http://schemas.microsoft.com/office/drawing/2014/main" id="{424687A0-FC40-4BF2-A596-9E9D5A222D8B}"/>
              </a:ext>
            </a:extLst>
          </p:cNvPr>
          <p:cNvSpPr>
            <a:spLocks noGrp="1"/>
          </p:cNvSpPr>
          <p:nvPr>
            <p:ph type="subTitle" idx="1"/>
          </p:nvPr>
        </p:nvSpPr>
        <p:spPr/>
        <p:txBody>
          <a:bodyPr/>
          <a:lstStyle/>
          <a:p>
            <a:r>
              <a:rPr lang="en-US" b="1"/>
              <a:t>Brendan Sullivan</a:t>
            </a:r>
          </a:p>
          <a:p>
            <a:r>
              <a:rPr lang="en-US" sz="2800"/>
              <a:t>Head, E-Commerce &amp; Cargo Operations</a:t>
            </a:r>
          </a:p>
          <a:p>
            <a:r>
              <a:rPr lang="en-US" sz="2800"/>
              <a:t>sullivanb@iata.org</a:t>
            </a:r>
          </a:p>
        </p:txBody>
      </p:sp>
      <p:sp>
        <p:nvSpPr>
          <p:cNvPr id="5" name="Date Placeholder 4">
            <a:extLst>
              <a:ext uri="{FF2B5EF4-FFF2-40B4-BE49-F238E27FC236}">
                <a16:creationId xmlns:a16="http://schemas.microsoft.com/office/drawing/2014/main" id="{7011B33D-4649-47C0-9767-AEDAB5192D6B}"/>
              </a:ext>
            </a:extLst>
          </p:cNvPr>
          <p:cNvSpPr>
            <a:spLocks noGrp="1"/>
          </p:cNvSpPr>
          <p:nvPr>
            <p:ph type="dt" sz="half" idx="10"/>
          </p:nvPr>
        </p:nvSpPr>
        <p:spPr/>
        <p:txBody>
          <a:bodyPr/>
          <a:lstStyle/>
          <a:p>
            <a:fld id="{E76394B6-F0B0-4900-A86B-2184939B3D6C}" type="datetime3">
              <a:rPr lang="en-US"/>
              <a:pPr/>
              <a:t>31 March 2021</a:t>
            </a:fld>
            <a:endParaRPr lang="en-US"/>
          </a:p>
        </p:txBody>
      </p:sp>
    </p:spTree>
    <p:custDataLst>
      <p:tags r:id="rId1"/>
    </p:custDataLst>
    <p:extLst>
      <p:ext uri="{BB962C8B-B14F-4D97-AF65-F5344CB8AC3E}">
        <p14:creationId xmlns:p14="http://schemas.microsoft.com/office/powerpoint/2010/main" val="284126213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3764541C-40AD-4616-82FB-86E8B2ED59B0}"/>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l="2972" t="36870" r="5074" b="30821"/>
          <a:stretch/>
        </p:blipFill>
        <p:spPr>
          <a:xfrm>
            <a:off x="7786967" y="3089250"/>
            <a:ext cx="4023357" cy="942902"/>
          </a:xfrm>
          <a:prstGeom prst="rect">
            <a:avLst/>
          </a:prstGeom>
        </p:spPr>
      </p:pic>
      <p:sp>
        <p:nvSpPr>
          <p:cNvPr id="15" name="Rectangle 14">
            <a:extLst>
              <a:ext uri="{FF2B5EF4-FFF2-40B4-BE49-F238E27FC236}">
                <a16:creationId xmlns:a16="http://schemas.microsoft.com/office/drawing/2014/main" id="{770B3201-4C1D-446F-AE0F-710C12303463}"/>
              </a:ext>
            </a:extLst>
          </p:cNvPr>
          <p:cNvSpPr/>
          <p:nvPr/>
        </p:nvSpPr>
        <p:spPr>
          <a:xfrm>
            <a:off x="381000" y="1440383"/>
            <a:ext cx="7250546" cy="42103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B74B7BB-63C3-4A39-9E63-5DE4899C5344}"/>
              </a:ext>
            </a:extLst>
          </p:cNvPr>
          <p:cNvSpPr>
            <a:spLocks noGrp="1"/>
          </p:cNvSpPr>
          <p:nvPr>
            <p:ph type="title"/>
          </p:nvPr>
        </p:nvSpPr>
        <p:spPr/>
        <p:txBody>
          <a:bodyPr/>
          <a:lstStyle/>
          <a:p>
            <a:r>
              <a:rPr lang="en-US"/>
              <a:t>Consumer behavior changed in 2020</a:t>
            </a:r>
          </a:p>
        </p:txBody>
      </p:sp>
      <p:sp>
        <p:nvSpPr>
          <p:cNvPr id="5" name="Footer Placeholder 4">
            <a:extLst>
              <a:ext uri="{FF2B5EF4-FFF2-40B4-BE49-F238E27FC236}">
                <a16:creationId xmlns:a16="http://schemas.microsoft.com/office/drawing/2014/main" id="{72548738-E407-4E1C-A4E0-F2111BDAE17B}"/>
              </a:ext>
            </a:extLst>
          </p:cNvPr>
          <p:cNvSpPr>
            <a:spLocks noGrp="1"/>
          </p:cNvSpPr>
          <p:nvPr>
            <p:ph type="ftr" sz="quarter" idx="11"/>
          </p:nvPr>
        </p:nvSpPr>
        <p:spPr>
          <a:xfrm>
            <a:off x="381000" y="5684395"/>
            <a:ext cx="4950130" cy="365125"/>
          </a:xfrm>
        </p:spPr>
        <p:txBody>
          <a:bodyPr/>
          <a:lstStyle/>
          <a:p>
            <a:r>
              <a:rPr lang="en-US" sz="1050"/>
              <a:t>Source: </a:t>
            </a:r>
            <a:r>
              <a:rPr lang="en-US" sz="1050">
                <a:hlinkClick r:id="rId4"/>
              </a:rPr>
              <a:t>https://www.emarketer.com/</a:t>
            </a:r>
            <a:r>
              <a:rPr lang="en-US" sz="1050"/>
              <a:t>; https://www.freightwaves.com</a:t>
            </a:r>
            <a:endParaRPr lang="en-US" sz="1100"/>
          </a:p>
        </p:txBody>
      </p:sp>
      <p:sp>
        <p:nvSpPr>
          <p:cNvPr id="7" name="Footer Placeholder 2">
            <a:extLst>
              <a:ext uri="{FF2B5EF4-FFF2-40B4-BE49-F238E27FC236}">
                <a16:creationId xmlns:a16="http://schemas.microsoft.com/office/drawing/2014/main" id="{8D3CF36C-B6D5-4DD9-99E3-74910833FF4B}"/>
              </a:ext>
            </a:extLst>
          </p:cNvPr>
          <p:cNvSpPr txBox="1">
            <a:spLocks/>
          </p:cNvSpPr>
          <p:nvPr/>
        </p:nvSpPr>
        <p:spPr>
          <a:xfrm>
            <a:off x="1106065" y="5029614"/>
            <a:ext cx="5549735" cy="147120"/>
          </a:xfrm>
          <a:prstGeom prst="rect">
            <a:avLst/>
          </a:prstGeom>
        </p:spPr>
        <p:txBody>
          <a:bodyPr vert="horz" lIns="0" tIns="0" rIns="0" bIns="0" rtlCol="0" anchor="b" anchorCtr="0"/>
          <a:lstStyle>
            <a:defPPr>
              <a:defRPr lang="en-US"/>
            </a:defPPr>
            <a:lvl1pPr marL="0" algn="l" defTabSz="914400" rtl="0" eaLnBrk="1" latinLnBrk="0" hangingPunct="1">
              <a:defRPr sz="788"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p>
        </p:txBody>
      </p:sp>
      <p:sp>
        <p:nvSpPr>
          <p:cNvPr id="8" name="Rectangle 7">
            <a:extLst>
              <a:ext uri="{FF2B5EF4-FFF2-40B4-BE49-F238E27FC236}">
                <a16:creationId xmlns:a16="http://schemas.microsoft.com/office/drawing/2014/main" id="{333C925F-3C90-468C-BE9E-8235DABE0676}"/>
              </a:ext>
            </a:extLst>
          </p:cNvPr>
          <p:cNvSpPr/>
          <p:nvPr/>
        </p:nvSpPr>
        <p:spPr>
          <a:xfrm>
            <a:off x="1056904" y="1636553"/>
            <a:ext cx="5951538" cy="369332"/>
          </a:xfrm>
          <a:prstGeom prst="rect">
            <a:avLst/>
          </a:prstGeom>
        </p:spPr>
        <p:txBody>
          <a:bodyPr wrap="square">
            <a:spAutoFit/>
          </a:bodyPr>
          <a:lstStyle/>
          <a:p>
            <a:r>
              <a:rPr lang="en-US" b="1"/>
              <a:t>Worldwide E-Commerce will reach $5 Trillion in 2021</a:t>
            </a:r>
          </a:p>
        </p:txBody>
      </p:sp>
      <p:grpSp>
        <p:nvGrpSpPr>
          <p:cNvPr id="10" name="Group 9">
            <a:extLst>
              <a:ext uri="{FF2B5EF4-FFF2-40B4-BE49-F238E27FC236}">
                <a16:creationId xmlns:a16="http://schemas.microsoft.com/office/drawing/2014/main" id="{5E9121F5-0E7E-4585-8B5A-522EB1E5CCCC}"/>
              </a:ext>
            </a:extLst>
          </p:cNvPr>
          <p:cNvGrpSpPr/>
          <p:nvPr/>
        </p:nvGrpSpPr>
        <p:grpSpPr>
          <a:xfrm>
            <a:off x="447963" y="2249936"/>
            <a:ext cx="6682018" cy="3644859"/>
            <a:chOff x="882746" y="1711217"/>
            <a:chExt cx="4251928" cy="2990447"/>
          </a:xfrm>
        </p:grpSpPr>
        <p:graphicFrame>
          <p:nvGraphicFramePr>
            <p:cNvPr id="11" name="Chart 10">
              <a:extLst>
                <a:ext uri="{FF2B5EF4-FFF2-40B4-BE49-F238E27FC236}">
                  <a16:creationId xmlns:a16="http://schemas.microsoft.com/office/drawing/2014/main" id="{3BCD05FD-E94D-4EFF-BEA2-8764C60F267D}"/>
                </a:ext>
              </a:extLst>
            </p:cNvPr>
            <p:cNvGraphicFramePr>
              <a:graphicFrameLocks/>
            </p:cNvGraphicFramePr>
            <p:nvPr>
              <p:extLst>
                <p:ext uri="{D42A27DB-BD31-4B8C-83A1-F6EECF244321}">
                  <p14:modId xmlns:p14="http://schemas.microsoft.com/office/powerpoint/2010/main" val="2568491649"/>
                </p:ext>
              </p:extLst>
            </p:nvPr>
          </p:nvGraphicFramePr>
          <p:xfrm>
            <a:off x="882746" y="1711217"/>
            <a:ext cx="4153287" cy="2817823"/>
          </p:xfrm>
          <a:graphic>
            <a:graphicData uri="http://schemas.openxmlformats.org/drawingml/2006/chart">
              <c:chart xmlns:c="http://schemas.openxmlformats.org/drawingml/2006/chart" xmlns:r="http://schemas.openxmlformats.org/officeDocument/2006/relationships" r:id="rId5"/>
            </a:graphicData>
          </a:graphic>
        </p:graphicFrame>
        <p:cxnSp>
          <p:nvCxnSpPr>
            <p:cNvPr id="12" name="Straight Connector 11">
              <a:extLst>
                <a:ext uri="{FF2B5EF4-FFF2-40B4-BE49-F238E27FC236}">
                  <a16:creationId xmlns:a16="http://schemas.microsoft.com/office/drawing/2014/main" id="{9542A090-1885-4C00-9D0E-AE57E1E2C336}"/>
                </a:ext>
              </a:extLst>
            </p:cNvPr>
            <p:cNvCxnSpPr/>
            <p:nvPr/>
          </p:nvCxnSpPr>
          <p:spPr>
            <a:xfrm>
              <a:off x="3943828" y="4365595"/>
              <a:ext cx="28353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1A13B53-A517-40C2-BBC5-A189AF9C622E}"/>
                </a:ext>
              </a:extLst>
            </p:cNvPr>
            <p:cNvSpPr txBox="1"/>
            <p:nvPr/>
          </p:nvSpPr>
          <p:spPr>
            <a:xfrm>
              <a:off x="4227363" y="4286904"/>
              <a:ext cx="907311" cy="414760"/>
            </a:xfrm>
            <a:prstGeom prst="rect">
              <a:avLst/>
            </a:prstGeom>
            <a:noFill/>
          </p:spPr>
          <p:txBody>
            <a:bodyPr wrap="square" rtlCol="0">
              <a:spAutoFit/>
            </a:bodyPr>
            <a:lstStyle/>
            <a:p>
              <a:r>
                <a:rPr lang="en-US" sz="900"/>
                <a:t>% of total retail sales</a:t>
              </a:r>
            </a:p>
          </p:txBody>
        </p:sp>
      </p:grpSp>
      <p:sp>
        <p:nvSpPr>
          <p:cNvPr id="19" name="Rectangle 18">
            <a:extLst>
              <a:ext uri="{FF2B5EF4-FFF2-40B4-BE49-F238E27FC236}">
                <a16:creationId xmlns:a16="http://schemas.microsoft.com/office/drawing/2014/main" id="{74BDA0E2-C694-4C6C-98EA-89F24E2274CB}"/>
              </a:ext>
            </a:extLst>
          </p:cNvPr>
          <p:cNvSpPr/>
          <p:nvPr/>
        </p:nvSpPr>
        <p:spPr>
          <a:xfrm rot="16200000">
            <a:off x="8975687" y="254610"/>
            <a:ext cx="1645920" cy="4023360"/>
          </a:xfrm>
          <a:prstGeom prst="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03195AEA-90DE-4542-84B5-A7ADBB630757}"/>
              </a:ext>
            </a:extLst>
          </p:cNvPr>
          <p:cNvGrpSpPr/>
          <p:nvPr/>
        </p:nvGrpSpPr>
        <p:grpSpPr>
          <a:xfrm>
            <a:off x="7971711" y="1524667"/>
            <a:ext cx="3655235" cy="1526085"/>
            <a:chOff x="4361197" y="6802455"/>
            <a:chExt cx="1742063" cy="828723"/>
          </a:xfrm>
        </p:grpSpPr>
        <p:sp>
          <p:nvSpPr>
            <p:cNvPr id="21" name="TextBox 20">
              <a:extLst>
                <a:ext uri="{FF2B5EF4-FFF2-40B4-BE49-F238E27FC236}">
                  <a16:creationId xmlns:a16="http://schemas.microsoft.com/office/drawing/2014/main" id="{10515C6E-75CB-47F2-8232-1B1F37792EEF}"/>
                </a:ext>
              </a:extLst>
            </p:cNvPr>
            <p:cNvSpPr txBox="1"/>
            <p:nvPr/>
          </p:nvSpPr>
          <p:spPr>
            <a:xfrm>
              <a:off x="4396481" y="6802456"/>
              <a:ext cx="763525" cy="417836"/>
            </a:xfrm>
            <a:prstGeom prst="rect">
              <a:avLst/>
            </a:prstGeom>
            <a:noFill/>
          </p:spPr>
          <p:txBody>
            <a:bodyPr wrap="square" rtlCol="0">
              <a:spAutoFit/>
            </a:bodyPr>
            <a:lstStyle/>
            <a:p>
              <a:pPr algn="ctr"/>
              <a:r>
                <a:rPr lang="en-US" sz="4400" b="1">
                  <a:solidFill>
                    <a:schemeClr val="bg1"/>
                  </a:solidFill>
                  <a:latin typeface="+mj-lt"/>
                </a:rPr>
                <a:t>27</a:t>
              </a:r>
              <a:r>
                <a:rPr lang="en-US" sz="2400" b="1">
                  <a:solidFill>
                    <a:schemeClr val="bg1"/>
                  </a:solidFill>
                  <a:latin typeface="+mj-lt"/>
                </a:rPr>
                <a:t>.</a:t>
              </a:r>
              <a:r>
                <a:rPr lang="en-US" sz="2800" b="1">
                  <a:solidFill>
                    <a:schemeClr val="bg1"/>
                  </a:solidFill>
                  <a:latin typeface="+mj-lt"/>
                </a:rPr>
                <a:t>6</a:t>
              </a:r>
              <a:r>
                <a:rPr lang="en-US" sz="1400" b="1">
                  <a:solidFill>
                    <a:schemeClr val="bg1"/>
                  </a:solidFill>
                  <a:latin typeface="+mj-lt"/>
                </a:rPr>
                <a:t> </a:t>
              </a:r>
              <a:r>
                <a:rPr lang="en-US" sz="2400">
                  <a:solidFill>
                    <a:schemeClr val="bg1"/>
                  </a:solidFill>
                  <a:latin typeface="+mj-lt"/>
                </a:rPr>
                <a:t>%</a:t>
              </a:r>
              <a:endParaRPr lang="en-US" sz="2000">
                <a:solidFill>
                  <a:schemeClr val="bg1"/>
                </a:solidFill>
                <a:latin typeface="+mj-lt"/>
              </a:endParaRPr>
            </a:p>
          </p:txBody>
        </p:sp>
        <p:sp>
          <p:nvSpPr>
            <p:cNvPr id="22" name="TextBox 21">
              <a:extLst>
                <a:ext uri="{FF2B5EF4-FFF2-40B4-BE49-F238E27FC236}">
                  <a16:creationId xmlns:a16="http://schemas.microsoft.com/office/drawing/2014/main" id="{3832711C-3258-40ED-82DA-BD1979D9E031}"/>
                </a:ext>
              </a:extLst>
            </p:cNvPr>
            <p:cNvSpPr txBox="1"/>
            <p:nvPr/>
          </p:nvSpPr>
          <p:spPr>
            <a:xfrm>
              <a:off x="4361197" y="7179915"/>
              <a:ext cx="798255" cy="451263"/>
            </a:xfrm>
            <a:prstGeom prst="rect">
              <a:avLst/>
            </a:prstGeom>
            <a:noFill/>
          </p:spPr>
          <p:txBody>
            <a:bodyPr wrap="square" rtlCol="0">
              <a:spAutoFit/>
            </a:bodyPr>
            <a:lstStyle/>
            <a:p>
              <a:pPr algn="ctr"/>
              <a:r>
                <a:rPr lang="en-US" sz="1200">
                  <a:solidFill>
                    <a:schemeClr val="bg1"/>
                  </a:solidFill>
                  <a:latin typeface="+mj-lt"/>
                </a:rPr>
                <a:t>Growth of worldwide e-commerce retail sales, for a total of USD 4.280 trillion</a:t>
              </a:r>
            </a:p>
          </p:txBody>
        </p:sp>
        <p:cxnSp>
          <p:nvCxnSpPr>
            <p:cNvPr id="23" name="Straight Connector 22">
              <a:extLst>
                <a:ext uri="{FF2B5EF4-FFF2-40B4-BE49-F238E27FC236}">
                  <a16:creationId xmlns:a16="http://schemas.microsoft.com/office/drawing/2014/main" id="{706028DA-DAC3-494C-A43A-083583D43DAC}"/>
                </a:ext>
              </a:extLst>
            </p:cNvPr>
            <p:cNvCxnSpPr>
              <a:cxnSpLocks/>
            </p:cNvCxnSpPr>
            <p:nvPr/>
          </p:nvCxnSpPr>
          <p:spPr>
            <a:xfrm flipV="1">
              <a:off x="5233936" y="6840904"/>
              <a:ext cx="0" cy="70829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EDB1133-BD42-4123-BA01-26A4870678AE}"/>
                </a:ext>
              </a:extLst>
            </p:cNvPr>
            <p:cNvSpPr txBox="1"/>
            <p:nvPr/>
          </p:nvSpPr>
          <p:spPr>
            <a:xfrm>
              <a:off x="5335679" y="6802455"/>
              <a:ext cx="763524" cy="417836"/>
            </a:xfrm>
            <a:prstGeom prst="rect">
              <a:avLst/>
            </a:prstGeom>
            <a:noFill/>
          </p:spPr>
          <p:txBody>
            <a:bodyPr wrap="square" rtlCol="0">
              <a:spAutoFit/>
            </a:bodyPr>
            <a:lstStyle/>
            <a:p>
              <a:pPr algn="ctr"/>
              <a:r>
                <a:rPr lang="en-US" sz="4400" b="1">
                  <a:solidFill>
                    <a:schemeClr val="bg1"/>
                  </a:solidFill>
                  <a:latin typeface="+mj-lt"/>
                </a:rPr>
                <a:t>24</a:t>
              </a:r>
              <a:r>
                <a:rPr lang="en-US" b="1">
                  <a:solidFill>
                    <a:schemeClr val="bg1"/>
                  </a:solidFill>
                  <a:latin typeface="+mj-lt"/>
                </a:rPr>
                <a:t> </a:t>
              </a:r>
              <a:r>
                <a:rPr lang="en-US" sz="2400">
                  <a:solidFill>
                    <a:schemeClr val="bg1"/>
                  </a:solidFill>
                  <a:latin typeface="+mj-lt"/>
                </a:rPr>
                <a:t>%</a:t>
              </a:r>
            </a:p>
          </p:txBody>
        </p:sp>
        <p:sp>
          <p:nvSpPr>
            <p:cNvPr id="25" name="TextBox 24">
              <a:extLst>
                <a:ext uri="{FF2B5EF4-FFF2-40B4-BE49-F238E27FC236}">
                  <a16:creationId xmlns:a16="http://schemas.microsoft.com/office/drawing/2014/main" id="{8FDEE25B-8C0D-4D21-A064-50187D5291BB}"/>
                </a:ext>
              </a:extLst>
            </p:cNvPr>
            <p:cNvSpPr txBox="1"/>
            <p:nvPr/>
          </p:nvSpPr>
          <p:spPr>
            <a:xfrm>
              <a:off x="5305005" y="7169975"/>
              <a:ext cx="798255" cy="451263"/>
            </a:xfrm>
            <a:prstGeom prst="rect">
              <a:avLst/>
            </a:prstGeom>
            <a:noFill/>
          </p:spPr>
          <p:txBody>
            <a:bodyPr wrap="square" rtlCol="0">
              <a:spAutoFit/>
            </a:bodyPr>
            <a:lstStyle>
              <a:defPPr>
                <a:defRPr lang="en-US"/>
              </a:defPPr>
              <a:lvl1pPr>
                <a:defRPr sz="1200">
                  <a:latin typeface="+mj-lt"/>
                </a:defRPr>
              </a:lvl1pPr>
            </a:lstStyle>
            <a:p>
              <a:pPr algn="ctr"/>
              <a:r>
                <a:rPr lang="en-US">
                  <a:solidFill>
                    <a:schemeClr val="bg1"/>
                  </a:solidFill>
                </a:rPr>
                <a:t>jump in e-commerce transactions in December 2020 compared to 2019</a:t>
              </a:r>
            </a:p>
          </p:txBody>
        </p:sp>
      </p:grpSp>
      <p:sp>
        <p:nvSpPr>
          <p:cNvPr id="30" name="Rectangle 29">
            <a:extLst>
              <a:ext uri="{FF2B5EF4-FFF2-40B4-BE49-F238E27FC236}">
                <a16:creationId xmlns:a16="http://schemas.microsoft.com/office/drawing/2014/main" id="{DA21D2C5-A798-4AD8-91CD-62C1C1BADDBB}"/>
              </a:ext>
            </a:extLst>
          </p:cNvPr>
          <p:cNvSpPr/>
          <p:nvPr/>
        </p:nvSpPr>
        <p:spPr>
          <a:xfrm rot="16200000">
            <a:off x="8965962" y="2806379"/>
            <a:ext cx="1665370" cy="4023360"/>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grpSp>
        <p:nvGrpSpPr>
          <p:cNvPr id="31" name="Group 30">
            <a:extLst>
              <a:ext uri="{FF2B5EF4-FFF2-40B4-BE49-F238E27FC236}">
                <a16:creationId xmlns:a16="http://schemas.microsoft.com/office/drawing/2014/main" id="{122BF5DD-3668-4A1C-9D5F-C0CC0D5A9F38}"/>
              </a:ext>
            </a:extLst>
          </p:cNvPr>
          <p:cNvGrpSpPr/>
          <p:nvPr/>
        </p:nvGrpSpPr>
        <p:grpSpPr>
          <a:xfrm>
            <a:off x="7978181" y="4095892"/>
            <a:ext cx="3655235" cy="1388091"/>
            <a:chOff x="4361197" y="6752139"/>
            <a:chExt cx="1742063" cy="753787"/>
          </a:xfrm>
        </p:grpSpPr>
        <p:sp>
          <p:nvSpPr>
            <p:cNvPr id="32" name="TextBox 31">
              <a:extLst>
                <a:ext uri="{FF2B5EF4-FFF2-40B4-BE49-F238E27FC236}">
                  <a16:creationId xmlns:a16="http://schemas.microsoft.com/office/drawing/2014/main" id="{EC60EA36-06A2-44CE-A9D0-A76C85975D9C}"/>
                </a:ext>
              </a:extLst>
            </p:cNvPr>
            <p:cNvSpPr txBox="1"/>
            <p:nvPr/>
          </p:nvSpPr>
          <p:spPr>
            <a:xfrm>
              <a:off x="4415107" y="6761021"/>
              <a:ext cx="763525" cy="417836"/>
            </a:xfrm>
            <a:prstGeom prst="rect">
              <a:avLst/>
            </a:prstGeom>
            <a:noFill/>
          </p:spPr>
          <p:txBody>
            <a:bodyPr wrap="square" rtlCol="0">
              <a:spAutoFit/>
            </a:bodyPr>
            <a:lstStyle/>
            <a:p>
              <a:pPr algn="ctr"/>
              <a:r>
                <a:rPr lang="en-US" sz="4400" b="1">
                  <a:latin typeface="+mj-lt"/>
                </a:rPr>
                <a:t>81</a:t>
              </a:r>
              <a:r>
                <a:rPr lang="en-US" sz="1400" b="1">
                  <a:latin typeface="+mj-lt"/>
                </a:rPr>
                <a:t> </a:t>
              </a:r>
              <a:r>
                <a:rPr lang="en-US" sz="2400">
                  <a:latin typeface="+mj-lt"/>
                </a:rPr>
                <a:t>%</a:t>
              </a:r>
              <a:endParaRPr lang="en-US" sz="2000">
                <a:latin typeface="+mj-lt"/>
              </a:endParaRPr>
            </a:p>
          </p:txBody>
        </p:sp>
        <p:sp>
          <p:nvSpPr>
            <p:cNvPr id="33" name="TextBox 32">
              <a:extLst>
                <a:ext uri="{FF2B5EF4-FFF2-40B4-BE49-F238E27FC236}">
                  <a16:creationId xmlns:a16="http://schemas.microsoft.com/office/drawing/2014/main" id="{353B52EF-A659-4A1D-8D9B-115137BEAB6D}"/>
                </a:ext>
              </a:extLst>
            </p:cNvPr>
            <p:cNvSpPr txBox="1"/>
            <p:nvPr/>
          </p:nvSpPr>
          <p:spPr>
            <a:xfrm>
              <a:off x="4361197" y="7154835"/>
              <a:ext cx="798255" cy="350983"/>
            </a:xfrm>
            <a:prstGeom prst="rect">
              <a:avLst/>
            </a:prstGeom>
            <a:noFill/>
          </p:spPr>
          <p:txBody>
            <a:bodyPr wrap="square" rtlCol="0">
              <a:spAutoFit/>
            </a:bodyPr>
            <a:lstStyle/>
            <a:p>
              <a:pPr algn="ctr"/>
              <a:r>
                <a:rPr lang="en-US" sz="1200">
                  <a:latin typeface="+mj-lt"/>
                </a:rPr>
                <a:t>of consumers would prefer carbon neutral delivery</a:t>
              </a:r>
            </a:p>
          </p:txBody>
        </p:sp>
        <p:cxnSp>
          <p:nvCxnSpPr>
            <p:cNvPr id="34" name="Straight Connector 33">
              <a:extLst>
                <a:ext uri="{FF2B5EF4-FFF2-40B4-BE49-F238E27FC236}">
                  <a16:creationId xmlns:a16="http://schemas.microsoft.com/office/drawing/2014/main" id="{9274C81B-AB47-4CEE-86E6-049A263A41E3}"/>
                </a:ext>
              </a:extLst>
            </p:cNvPr>
            <p:cNvCxnSpPr>
              <a:cxnSpLocks/>
            </p:cNvCxnSpPr>
            <p:nvPr/>
          </p:nvCxnSpPr>
          <p:spPr>
            <a:xfrm flipV="1">
              <a:off x="5230252" y="6797629"/>
              <a:ext cx="0" cy="708297"/>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9B83C84-E624-4367-B57D-2654BF816713}"/>
                </a:ext>
              </a:extLst>
            </p:cNvPr>
            <p:cNvSpPr txBox="1"/>
            <p:nvPr/>
          </p:nvSpPr>
          <p:spPr>
            <a:xfrm>
              <a:off x="5331878" y="6752139"/>
              <a:ext cx="763524" cy="417836"/>
            </a:xfrm>
            <a:prstGeom prst="rect">
              <a:avLst/>
            </a:prstGeom>
            <a:noFill/>
          </p:spPr>
          <p:txBody>
            <a:bodyPr wrap="square" rtlCol="0">
              <a:spAutoFit/>
            </a:bodyPr>
            <a:lstStyle/>
            <a:p>
              <a:pPr algn="ctr"/>
              <a:r>
                <a:rPr lang="en-US" sz="4400" b="1"/>
                <a:t>61</a:t>
              </a:r>
              <a:r>
                <a:rPr lang="en-US" b="1">
                  <a:latin typeface="+mj-lt"/>
                </a:rPr>
                <a:t> </a:t>
              </a:r>
              <a:r>
                <a:rPr lang="en-US" sz="2400">
                  <a:latin typeface="+mj-lt"/>
                </a:rPr>
                <a:t>%</a:t>
              </a:r>
            </a:p>
          </p:txBody>
        </p:sp>
        <p:sp>
          <p:nvSpPr>
            <p:cNvPr id="36" name="TextBox 35">
              <a:extLst>
                <a:ext uri="{FF2B5EF4-FFF2-40B4-BE49-F238E27FC236}">
                  <a16:creationId xmlns:a16="http://schemas.microsoft.com/office/drawing/2014/main" id="{FE556459-8016-4C08-8829-2E9FA16ACFCE}"/>
                </a:ext>
              </a:extLst>
            </p:cNvPr>
            <p:cNvSpPr txBox="1"/>
            <p:nvPr/>
          </p:nvSpPr>
          <p:spPr>
            <a:xfrm>
              <a:off x="5305005" y="7144899"/>
              <a:ext cx="798255" cy="350983"/>
            </a:xfrm>
            <a:prstGeom prst="rect">
              <a:avLst/>
            </a:prstGeom>
            <a:noFill/>
          </p:spPr>
          <p:txBody>
            <a:bodyPr wrap="square" rtlCol="0">
              <a:spAutoFit/>
            </a:bodyPr>
            <a:lstStyle>
              <a:defPPr>
                <a:defRPr lang="en-US"/>
              </a:defPPr>
              <a:lvl1pPr>
                <a:defRPr sz="1200">
                  <a:latin typeface="+mj-lt"/>
                </a:defRPr>
              </a:lvl1pPr>
            </a:lstStyle>
            <a:p>
              <a:pPr algn="ctr"/>
              <a:r>
                <a:rPr lang="en-US"/>
                <a:t>of consumers would prefer sustainable packaging</a:t>
              </a:r>
            </a:p>
          </p:txBody>
        </p:sp>
      </p:grpSp>
    </p:spTree>
    <p:extLst>
      <p:ext uri="{BB962C8B-B14F-4D97-AF65-F5344CB8AC3E}">
        <p14:creationId xmlns:p14="http://schemas.microsoft.com/office/powerpoint/2010/main" val="30346453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0" name="Group 659">
            <a:extLst>
              <a:ext uri="{FF2B5EF4-FFF2-40B4-BE49-F238E27FC236}">
                <a16:creationId xmlns:a16="http://schemas.microsoft.com/office/drawing/2014/main" id="{316AF818-94AE-473F-82C3-69776942EA6E}"/>
              </a:ext>
            </a:extLst>
          </p:cNvPr>
          <p:cNvGrpSpPr/>
          <p:nvPr/>
        </p:nvGrpSpPr>
        <p:grpSpPr>
          <a:xfrm>
            <a:off x="2617911" y="1918851"/>
            <a:ext cx="6683761" cy="3786816"/>
            <a:chOff x="2617911" y="1918851"/>
            <a:chExt cx="6683761" cy="3786816"/>
          </a:xfrm>
        </p:grpSpPr>
        <p:grpSp>
          <p:nvGrpSpPr>
            <p:cNvPr id="661" name="Group 660">
              <a:extLst>
                <a:ext uri="{FF2B5EF4-FFF2-40B4-BE49-F238E27FC236}">
                  <a16:creationId xmlns:a16="http://schemas.microsoft.com/office/drawing/2014/main" id="{F9C684C9-2B8D-4C8F-9F2A-28375E985423}"/>
                </a:ext>
              </a:extLst>
            </p:cNvPr>
            <p:cNvGrpSpPr/>
            <p:nvPr/>
          </p:nvGrpSpPr>
          <p:grpSpPr>
            <a:xfrm>
              <a:off x="2617911" y="1939610"/>
              <a:ext cx="2477612" cy="3766057"/>
              <a:chOff x="2617911" y="1939610"/>
              <a:chExt cx="2477612" cy="3766057"/>
            </a:xfrm>
          </p:grpSpPr>
          <p:sp>
            <p:nvSpPr>
              <p:cNvPr id="885" name="Freeform 5">
                <a:extLst>
                  <a:ext uri="{FF2B5EF4-FFF2-40B4-BE49-F238E27FC236}">
                    <a16:creationId xmlns:a16="http://schemas.microsoft.com/office/drawing/2014/main" id="{23AEBCD7-986A-472F-A990-F3F76B711E48}"/>
                  </a:ext>
                </a:extLst>
              </p:cNvPr>
              <p:cNvSpPr>
                <a:spLocks/>
              </p:cNvSpPr>
              <p:nvPr/>
            </p:nvSpPr>
            <p:spPr bwMode="auto">
              <a:xfrm>
                <a:off x="4362352" y="3297540"/>
                <a:ext cx="42136" cy="20760"/>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86" name="Freeform 14">
                <a:extLst>
                  <a:ext uri="{FF2B5EF4-FFF2-40B4-BE49-F238E27FC236}">
                    <a16:creationId xmlns:a16="http://schemas.microsoft.com/office/drawing/2014/main" id="{80018858-B90E-4E8B-B7F9-99F0921AAFFB}"/>
                  </a:ext>
                </a:extLst>
              </p:cNvPr>
              <p:cNvSpPr>
                <a:spLocks/>
              </p:cNvSpPr>
              <p:nvPr/>
            </p:nvSpPr>
            <p:spPr bwMode="auto">
              <a:xfrm>
                <a:off x="3565374" y="3514906"/>
                <a:ext cx="565830" cy="443281"/>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solidFill>
                <a:schemeClr val="accent1"/>
              </a:solidFill>
              <a:ln w="3175" cmpd="sng">
                <a:solidFill>
                  <a:schemeClr val="bg1"/>
                </a:solidFill>
                <a:round/>
                <a:headEnd/>
                <a:tailEnd/>
              </a:ln>
            </p:spPr>
            <p:style>
              <a:lnRef idx="1">
                <a:schemeClr val="accent4"/>
              </a:lnRef>
              <a:fillRef idx="0">
                <a:schemeClr val="accent4"/>
              </a:fillRef>
              <a:effectRef idx="0">
                <a:schemeClr val="accent4"/>
              </a:effectRef>
              <a:fontRef idx="minor">
                <a:schemeClr val="tx1"/>
              </a:fontRef>
            </p:style>
            <p:txBody>
              <a:bodyPr/>
              <a:lstStyle/>
              <a:p>
                <a:endParaRPr lang="en-GB" sz="1539">
                  <a:solidFill>
                    <a:schemeClr val="accent1"/>
                  </a:solidFill>
                </a:endParaRPr>
              </a:p>
            </p:txBody>
          </p:sp>
          <p:sp>
            <p:nvSpPr>
              <p:cNvPr id="887" name="Freeform 15">
                <a:extLst>
                  <a:ext uri="{FF2B5EF4-FFF2-40B4-BE49-F238E27FC236}">
                    <a16:creationId xmlns:a16="http://schemas.microsoft.com/office/drawing/2014/main" id="{1AD7A5CD-10C5-4AF1-8940-B9A67B09C8B5}"/>
                  </a:ext>
                </a:extLst>
              </p:cNvPr>
              <p:cNvSpPr>
                <a:spLocks/>
              </p:cNvSpPr>
              <p:nvPr/>
            </p:nvSpPr>
            <p:spPr bwMode="auto">
              <a:xfrm>
                <a:off x="4084253" y="3862936"/>
                <a:ext cx="20466" cy="62279"/>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88" name="Freeform 16">
                <a:extLst>
                  <a:ext uri="{FF2B5EF4-FFF2-40B4-BE49-F238E27FC236}">
                    <a16:creationId xmlns:a16="http://schemas.microsoft.com/office/drawing/2014/main" id="{78AEB75F-98CA-4A3B-958D-5AF3C14271B0}"/>
                  </a:ext>
                </a:extLst>
              </p:cNvPr>
              <p:cNvSpPr>
                <a:spLocks/>
              </p:cNvSpPr>
              <p:nvPr/>
            </p:nvSpPr>
            <p:spPr bwMode="auto">
              <a:xfrm>
                <a:off x="4441809" y="4515035"/>
                <a:ext cx="238371" cy="319944"/>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89" name="Freeform 17">
                <a:extLst>
                  <a:ext uri="{FF2B5EF4-FFF2-40B4-BE49-F238E27FC236}">
                    <a16:creationId xmlns:a16="http://schemas.microsoft.com/office/drawing/2014/main" id="{E7357763-233F-4E46-81B1-0486EFF4156D}"/>
                  </a:ext>
                </a:extLst>
              </p:cNvPr>
              <p:cNvSpPr>
                <a:spLocks/>
              </p:cNvSpPr>
              <p:nvPr/>
            </p:nvSpPr>
            <p:spPr bwMode="auto">
              <a:xfrm>
                <a:off x="4576645" y="4742171"/>
                <a:ext cx="156506" cy="211261"/>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0" name="Freeform 18">
                <a:extLst>
                  <a:ext uri="{FF2B5EF4-FFF2-40B4-BE49-F238E27FC236}">
                    <a16:creationId xmlns:a16="http://schemas.microsoft.com/office/drawing/2014/main" id="{7BE2DCA7-DD5C-4B8A-AE15-7DDA12458171}"/>
                  </a:ext>
                </a:extLst>
              </p:cNvPr>
              <p:cNvSpPr>
                <a:spLocks/>
              </p:cNvSpPr>
              <p:nvPr/>
            </p:nvSpPr>
            <p:spPr bwMode="auto">
              <a:xfrm>
                <a:off x="4648878" y="5004720"/>
                <a:ext cx="108351" cy="130664"/>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1" name="Freeform 19">
                <a:extLst>
                  <a:ext uri="{FF2B5EF4-FFF2-40B4-BE49-F238E27FC236}">
                    <a16:creationId xmlns:a16="http://schemas.microsoft.com/office/drawing/2014/main" id="{318836B9-5A6D-4FCD-B4B1-D5845FC10D15}"/>
                  </a:ext>
                </a:extLst>
              </p:cNvPr>
              <p:cNvSpPr>
                <a:spLocks/>
              </p:cNvSpPr>
              <p:nvPr/>
            </p:nvSpPr>
            <p:spPr bwMode="auto">
              <a:xfrm>
                <a:off x="4223904" y="4294006"/>
                <a:ext cx="240779" cy="428627"/>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2" name="Freeform 20">
                <a:extLst>
                  <a:ext uri="{FF2B5EF4-FFF2-40B4-BE49-F238E27FC236}">
                    <a16:creationId xmlns:a16="http://schemas.microsoft.com/office/drawing/2014/main" id="{AB4A43B6-8DFF-4A77-B140-9ECD5AB67FC6}"/>
                  </a:ext>
                </a:extLst>
              </p:cNvPr>
              <p:cNvSpPr>
                <a:spLocks/>
              </p:cNvSpPr>
              <p:nvPr/>
            </p:nvSpPr>
            <p:spPr bwMode="auto">
              <a:xfrm>
                <a:off x="4266040" y="4005813"/>
                <a:ext cx="231148" cy="388329"/>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3" name="Freeform 21">
                <a:extLst>
                  <a:ext uri="{FF2B5EF4-FFF2-40B4-BE49-F238E27FC236}">
                    <a16:creationId xmlns:a16="http://schemas.microsoft.com/office/drawing/2014/main" id="{4EFCF22A-EE14-45ED-A335-1CA87BB277ED}"/>
                  </a:ext>
                </a:extLst>
              </p:cNvPr>
              <p:cNvSpPr>
                <a:spLocks/>
              </p:cNvSpPr>
              <p:nvPr/>
            </p:nvSpPr>
            <p:spPr bwMode="auto">
              <a:xfrm>
                <a:off x="4374391" y="4003370"/>
                <a:ext cx="258837" cy="279645"/>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4" name="Freeform 22">
                <a:extLst>
                  <a:ext uri="{FF2B5EF4-FFF2-40B4-BE49-F238E27FC236}">
                    <a16:creationId xmlns:a16="http://schemas.microsoft.com/office/drawing/2014/main" id="{F43948AC-B272-4792-A32C-3B49795C2A2E}"/>
                  </a:ext>
                </a:extLst>
              </p:cNvPr>
              <p:cNvSpPr>
                <a:spLocks/>
              </p:cNvSpPr>
              <p:nvPr/>
            </p:nvSpPr>
            <p:spPr bwMode="auto">
              <a:xfrm>
                <a:off x="4586277" y="4097399"/>
                <a:ext cx="102331" cy="175847"/>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5" name="Freeform 23">
                <a:extLst>
                  <a:ext uri="{FF2B5EF4-FFF2-40B4-BE49-F238E27FC236}">
                    <a16:creationId xmlns:a16="http://schemas.microsoft.com/office/drawing/2014/main" id="{495F354B-FEF6-4968-936D-2F8EF839F70F}"/>
                  </a:ext>
                </a:extLst>
              </p:cNvPr>
              <p:cNvSpPr>
                <a:spLocks/>
              </p:cNvSpPr>
              <p:nvPr/>
            </p:nvSpPr>
            <p:spPr bwMode="auto">
              <a:xfrm>
                <a:off x="4658510" y="4154794"/>
                <a:ext cx="77049" cy="103799"/>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6" name="Freeform 24">
                <a:extLst>
                  <a:ext uri="{FF2B5EF4-FFF2-40B4-BE49-F238E27FC236}">
                    <a16:creationId xmlns:a16="http://schemas.microsoft.com/office/drawing/2014/main" id="{C0E1845E-3346-4C54-A062-FAA5ED300547}"/>
                  </a:ext>
                </a:extLst>
              </p:cNvPr>
              <p:cNvSpPr>
                <a:spLocks/>
              </p:cNvSpPr>
              <p:nvPr/>
            </p:nvSpPr>
            <p:spPr bwMode="auto">
              <a:xfrm>
                <a:off x="4725928" y="4164563"/>
                <a:ext cx="54175" cy="85481"/>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7" name="Freeform 25">
                <a:extLst>
                  <a:ext uri="{FF2B5EF4-FFF2-40B4-BE49-F238E27FC236}">
                    <a16:creationId xmlns:a16="http://schemas.microsoft.com/office/drawing/2014/main" id="{C991CE7D-328E-4B9F-B54E-B977A4240874}"/>
                  </a:ext>
                </a:extLst>
              </p:cNvPr>
              <p:cNvSpPr>
                <a:spLocks/>
              </p:cNvSpPr>
              <p:nvPr/>
            </p:nvSpPr>
            <p:spPr bwMode="auto">
              <a:xfrm>
                <a:off x="4143243" y="4033899"/>
                <a:ext cx="62603" cy="75712"/>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8" name="Freeform 26">
                <a:extLst>
                  <a:ext uri="{FF2B5EF4-FFF2-40B4-BE49-F238E27FC236}">
                    <a16:creationId xmlns:a16="http://schemas.microsoft.com/office/drawing/2014/main" id="{662C5C00-4492-4338-85BC-C7086DE6AF12}"/>
                  </a:ext>
                </a:extLst>
              </p:cNvPr>
              <p:cNvSpPr>
                <a:spLocks/>
              </p:cNvSpPr>
              <p:nvPr/>
            </p:nvSpPr>
            <p:spPr bwMode="auto">
              <a:xfrm>
                <a:off x="4109534" y="3945975"/>
                <a:ext cx="84273" cy="105020"/>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99" name="Freeform 27">
                <a:extLst>
                  <a:ext uri="{FF2B5EF4-FFF2-40B4-BE49-F238E27FC236}">
                    <a16:creationId xmlns:a16="http://schemas.microsoft.com/office/drawing/2014/main" id="{18A5B4C0-8675-454B-A2D8-8737D9EF428B}"/>
                  </a:ext>
                </a:extLst>
              </p:cNvPr>
              <p:cNvSpPr>
                <a:spLocks/>
              </p:cNvSpPr>
              <p:nvPr/>
            </p:nvSpPr>
            <p:spPr bwMode="auto">
              <a:xfrm>
                <a:off x="4077029" y="3922773"/>
                <a:ext cx="116778" cy="73269"/>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0" name="Freeform 28">
                <a:extLst>
                  <a:ext uri="{FF2B5EF4-FFF2-40B4-BE49-F238E27FC236}">
                    <a16:creationId xmlns:a16="http://schemas.microsoft.com/office/drawing/2014/main" id="{8A0923BC-B9BB-4C95-80B2-589953FC2C7D}"/>
                  </a:ext>
                </a:extLst>
              </p:cNvPr>
              <p:cNvSpPr>
                <a:spLocks/>
              </p:cNvSpPr>
              <p:nvPr/>
            </p:nvSpPr>
            <p:spPr bwMode="auto">
              <a:xfrm>
                <a:off x="4066194" y="3963071"/>
                <a:ext cx="45748" cy="28086"/>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1" name="Freeform 29">
                <a:extLst>
                  <a:ext uri="{FF2B5EF4-FFF2-40B4-BE49-F238E27FC236}">
                    <a16:creationId xmlns:a16="http://schemas.microsoft.com/office/drawing/2014/main" id="{4B1F7B71-859C-4CA4-B042-730A4BE9990F}"/>
                  </a:ext>
                </a:extLst>
              </p:cNvPr>
              <p:cNvSpPr>
                <a:spLocks/>
              </p:cNvSpPr>
              <p:nvPr/>
            </p:nvSpPr>
            <p:spPr bwMode="auto">
              <a:xfrm>
                <a:off x="4027669" y="3882475"/>
                <a:ext cx="71030" cy="95250"/>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2" name="Freeform 30">
                <a:extLst>
                  <a:ext uri="{FF2B5EF4-FFF2-40B4-BE49-F238E27FC236}">
                    <a16:creationId xmlns:a16="http://schemas.microsoft.com/office/drawing/2014/main" id="{0807219B-64FE-4864-95B0-38F85900667D}"/>
                  </a:ext>
                </a:extLst>
              </p:cNvPr>
              <p:cNvSpPr>
                <a:spLocks/>
              </p:cNvSpPr>
              <p:nvPr/>
            </p:nvSpPr>
            <p:spPr bwMode="auto">
              <a:xfrm>
                <a:off x="4231128" y="4263476"/>
                <a:ext cx="109554" cy="151423"/>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3" name="Freeform 31">
                <a:extLst>
                  <a:ext uri="{FF2B5EF4-FFF2-40B4-BE49-F238E27FC236}">
                    <a16:creationId xmlns:a16="http://schemas.microsoft.com/office/drawing/2014/main" id="{8E6D392B-B1EF-4877-B594-3518767E6405}"/>
                  </a:ext>
                </a:extLst>
              </p:cNvPr>
              <p:cNvSpPr>
                <a:spLocks/>
              </p:cNvSpPr>
              <p:nvPr/>
            </p:nvSpPr>
            <p:spPr bwMode="auto">
              <a:xfrm>
                <a:off x="4039709" y="4290342"/>
                <a:ext cx="14446" cy="3297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4" name="Freeform 33">
                <a:extLst>
                  <a:ext uri="{FF2B5EF4-FFF2-40B4-BE49-F238E27FC236}">
                    <a16:creationId xmlns:a16="http://schemas.microsoft.com/office/drawing/2014/main" id="{B0FF701C-D823-41D5-AA8E-B897D91D53AA}"/>
                  </a:ext>
                </a:extLst>
              </p:cNvPr>
              <p:cNvSpPr>
                <a:spLocks/>
              </p:cNvSpPr>
              <p:nvPr/>
            </p:nvSpPr>
            <p:spPr bwMode="auto">
              <a:xfrm>
                <a:off x="4072214" y="4311102"/>
                <a:ext cx="7224" cy="7326"/>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5" name="Freeform 34">
                <a:extLst>
                  <a:ext uri="{FF2B5EF4-FFF2-40B4-BE49-F238E27FC236}">
                    <a16:creationId xmlns:a16="http://schemas.microsoft.com/office/drawing/2014/main" id="{351F4DE1-B866-42FA-8BF4-023A24478D08}"/>
                  </a:ext>
                </a:extLst>
              </p:cNvPr>
              <p:cNvSpPr>
                <a:spLocks/>
              </p:cNvSpPr>
              <p:nvPr/>
            </p:nvSpPr>
            <p:spPr bwMode="auto">
              <a:xfrm>
                <a:off x="4054155" y="4296448"/>
                <a:ext cx="7224" cy="12212"/>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6" name="Freeform 35">
                <a:extLst>
                  <a:ext uri="{FF2B5EF4-FFF2-40B4-BE49-F238E27FC236}">
                    <a16:creationId xmlns:a16="http://schemas.microsoft.com/office/drawing/2014/main" id="{296C0B11-00A2-4A4D-88EE-33C884414AB2}"/>
                  </a:ext>
                </a:extLst>
              </p:cNvPr>
              <p:cNvSpPr>
                <a:spLocks/>
              </p:cNvSpPr>
              <p:nvPr/>
            </p:nvSpPr>
            <p:spPr bwMode="auto">
              <a:xfrm>
                <a:off x="4034893" y="4301332"/>
                <a:ext cx="12039" cy="7326"/>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7" name="Freeform 36">
                <a:extLst>
                  <a:ext uri="{FF2B5EF4-FFF2-40B4-BE49-F238E27FC236}">
                    <a16:creationId xmlns:a16="http://schemas.microsoft.com/office/drawing/2014/main" id="{E58B4AF1-318E-4018-BBE6-FCA5D045717F}"/>
                  </a:ext>
                </a:extLst>
              </p:cNvPr>
              <p:cNvSpPr>
                <a:spLocks/>
              </p:cNvSpPr>
              <p:nvPr/>
            </p:nvSpPr>
            <p:spPr bwMode="auto">
              <a:xfrm>
                <a:off x="4056564" y="4323314"/>
                <a:ext cx="7224" cy="7326"/>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8" name="Freeform 37">
                <a:extLst>
                  <a:ext uri="{FF2B5EF4-FFF2-40B4-BE49-F238E27FC236}">
                    <a16:creationId xmlns:a16="http://schemas.microsoft.com/office/drawing/2014/main" id="{8EC2DE1C-552F-4B32-ADF3-F830DAC8A264}"/>
                  </a:ext>
                </a:extLst>
              </p:cNvPr>
              <p:cNvSpPr>
                <a:spLocks/>
              </p:cNvSpPr>
              <p:nvPr/>
            </p:nvSpPr>
            <p:spPr bwMode="auto">
              <a:xfrm>
                <a:off x="4056564" y="4287900"/>
                <a:ext cx="4815" cy="2442"/>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9" name="Freeform 38">
                <a:extLst>
                  <a:ext uri="{FF2B5EF4-FFF2-40B4-BE49-F238E27FC236}">
                    <a16:creationId xmlns:a16="http://schemas.microsoft.com/office/drawing/2014/main" id="{7C0E90CB-2F1A-497B-BB5D-30A229027882}"/>
                  </a:ext>
                </a:extLst>
              </p:cNvPr>
              <p:cNvSpPr>
                <a:spLocks/>
              </p:cNvSpPr>
              <p:nvPr/>
            </p:nvSpPr>
            <p:spPr bwMode="auto">
              <a:xfrm>
                <a:off x="4285303" y="3862936"/>
                <a:ext cx="42136" cy="2198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0" name="Freeform 39">
                <a:extLst>
                  <a:ext uri="{FF2B5EF4-FFF2-40B4-BE49-F238E27FC236}">
                    <a16:creationId xmlns:a16="http://schemas.microsoft.com/office/drawing/2014/main" id="{39C1ED7E-058D-4693-925A-691BEF3F920A}"/>
                  </a:ext>
                </a:extLst>
              </p:cNvPr>
              <p:cNvSpPr>
                <a:spLocks/>
              </p:cNvSpPr>
              <p:nvPr/>
            </p:nvSpPr>
            <p:spPr bwMode="auto">
              <a:xfrm>
                <a:off x="4355129" y="3829965"/>
                <a:ext cx="56583" cy="52510"/>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1" name="Freeform 40">
                <a:extLst>
                  <a:ext uri="{FF2B5EF4-FFF2-40B4-BE49-F238E27FC236}">
                    <a16:creationId xmlns:a16="http://schemas.microsoft.com/office/drawing/2014/main" id="{7E9946B6-8966-4C66-860D-C7E8C40FD37F}"/>
                  </a:ext>
                </a:extLst>
              </p:cNvPr>
              <p:cNvSpPr>
                <a:spLocks/>
              </p:cNvSpPr>
              <p:nvPr/>
            </p:nvSpPr>
            <p:spPr bwMode="auto">
              <a:xfrm>
                <a:off x="4402080" y="3825081"/>
                <a:ext cx="69825" cy="64722"/>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2" name="Freeform 232">
                <a:extLst>
                  <a:ext uri="{FF2B5EF4-FFF2-40B4-BE49-F238E27FC236}">
                    <a16:creationId xmlns:a16="http://schemas.microsoft.com/office/drawing/2014/main" id="{7FC4DDA1-8EA5-4658-BE39-F7699B973FBC}"/>
                  </a:ext>
                </a:extLst>
              </p:cNvPr>
              <p:cNvSpPr>
                <a:spLocks noEditPoints="1"/>
              </p:cNvSpPr>
              <p:nvPr/>
            </p:nvSpPr>
            <p:spPr bwMode="auto">
              <a:xfrm>
                <a:off x="4329847" y="4701874"/>
                <a:ext cx="164933" cy="1003793"/>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3" name="Freeform 233">
                <a:extLst>
                  <a:ext uri="{FF2B5EF4-FFF2-40B4-BE49-F238E27FC236}">
                    <a16:creationId xmlns:a16="http://schemas.microsoft.com/office/drawing/2014/main" id="{D6194980-2F3C-4A54-ACC4-067FBDFA7C68}"/>
                  </a:ext>
                </a:extLst>
              </p:cNvPr>
              <p:cNvSpPr>
                <a:spLocks noEditPoints="1"/>
              </p:cNvSpPr>
              <p:nvPr/>
            </p:nvSpPr>
            <p:spPr bwMode="auto">
              <a:xfrm>
                <a:off x="4369575" y="4805672"/>
                <a:ext cx="373207" cy="884120"/>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4" name="Freeform 239">
                <a:extLst>
                  <a:ext uri="{FF2B5EF4-FFF2-40B4-BE49-F238E27FC236}">
                    <a16:creationId xmlns:a16="http://schemas.microsoft.com/office/drawing/2014/main" id="{B3FAF11F-F645-4172-97A8-BBAD80CD9445}"/>
                  </a:ext>
                </a:extLst>
              </p:cNvPr>
              <p:cNvSpPr>
                <a:spLocks noEditPoints="1"/>
              </p:cNvSpPr>
              <p:nvPr/>
            </p:nvSpPr>
            <p:spPr bwMode="auto">
              <a:xfrm>
                <a:off x="4270856" y="3660224"/>
                <a:ext cx="116778" cy="148982"/>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5" name="Freeform 240">
                <a:extLst>
                  <a:ext uri="{FF2B5EF4-FFF2-40B4-BE49-F238E27FC236}">
                    <a16:creationId xmlns:a16="http://schemas.microsoft.com/office/drawing/2014/main" id="{86B1FA92-7A47-4BE3-B21C-8F0369D932FE}"/>
                  </a:ext>
                </a:extLst>
              </p:cNvPr>
              <p:cNvSpPr>
                <a:spLocks noEditPoints="1"/>
              </p:cNvSpPr>
              <p:nvPr/>
            </p:nvSpPr>
            <p:spPr bwMode="auto">
              <a:xfrm>
                <a:off x="4163710" y="3749368"/>
                <a:ext cx="201051" cy="8792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6" name="Freeform 241">
                <a:extLst>
                  <a:ext uri="{FF2B5EF4-FFF2-40B4-BE49-F238E27FC236}">
                    <a16:creationId xmlns:a16="http://schemas.microsoft.com/office/drawing/2014/main" id="{67ED09EC-77C1-4CDC-A3A5-83961D5DB843}"/>
                  </a:ext>
                </a:extLst>
              </p:cNvPr>
              <p:cNvSpPr>
                <a:spLocks/>
              </p:cNvSpPr>
              <p:nvPr/>
            </p:nvSpPr>
            <p:spPr bwMode="auto">
              <a:xfrm>
                <a:off x="4376799" y="3851946"/>
                <a:ext cx="10835" cy="7326"/>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7" name="Freeform 242">
                <a:extLst>
                  <a:ext uri="{FF2B5EF4-FFF2-40B4-BE49-F238E27FC236}">
                    <a16:creationId xmlns:a16="http://schemas.microsoft.com/office/drawing/2014/main" id="{62B11D67-2FC8-430E-AF47-F839A466D355}"/>
                  </a:ext>
                </a:extLst>
              </p:cNvPr>
              <p:cNvSpPr>
                <a:spLocks/>
              </p:cNvSpPr>
              <p:nvPr/>
            </p:nvSpPr>
            <p:spPr bwMode="auto">
              <a:xfrm>
                <a:off x="4451440" y="4005813"/>
                <a:ext cx="13243" cy="13432"/>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8" name="Freeform 243">
                <a:extLst>
                  <a:ext uri="{FF2B5EF4-FFF2-40B4-BE49-F238E27FC236}">
                    <a16:creationId xmlns:a16="http://schemas.microsoft.com/office/drawing/2014/main" id="{8C88CE84-E6FF-48EE-A9F4-B609C5E1EED1}"/>
                  </a:ext>
                </a:extLst>
              </p:cNvPr>
              <p:cNvSpPr>
                <a:spLocks/>
              </p:cNvSpPr>
              <p:nvPr/>
            </p:nvSpPr>
            <p:spPr bwMode="auto">
              <a:xfrm>
                <a:off x="4464683" y="4010697"/>
                <a:ext cx="7224" cy="8548"/>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9" name="Freeform 244">
                <a:extLst>
                  <a:ext uri="{FF2B5EF4-FFF2-40B4-BE49-F238E27FC236}">
                    <a16:creationId xmlns:a16="http://schemas.microsoft.com/office/drawing/2014/main" id="{6A63C7FF-1DC3-48A9-B841-B4B086F0AFCC}"/>
                  </a:ext>
                </a:extLst>
              </p:cNvPr>
              <p:cNvSpPr>
                <a:spLocks/>
              </p:cNvSpPr>
              <p:nvPr/>
            </p:nvSpPr>
            <p:spPr bwMode="auto">
              <a:xfrm>
                <a:off x="4544140" y="4036341"/>
                <a:ext cx="14446" cy="7326"/>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0" name="Freeform 245">
                <a:extLst>
                  <a:ext uri="{FF2B5EF4-FFF2-40B4-BE49-F238E27FC236}">
                    <a16:creationId xmlns:a16="http://schemas.microsoft.com/office/drawing/2014/main" id="{0509E4A7-A05C-4A61-83D6-436E15E3590B}"/>
                  </a:ext>
                </a:extLst>
              </p:cNvPr>
              <p:cNvSpPr>
                <a:spLocks/>
              </p:cNvSpPr>
              <p:nvPr/>
            </p:nvSpPr>
            <p:spPr bwMode="auto">
              <a:xfrm>
                <a:off x="4605539" y="4088851"/>
                <a:ext cx="2408" cy="2442"/>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1" name="Freeform 246">
                <a:extLst>
                  <a:ext uri="{FF2B5EF4-FFF2-40B4-BE49-F238E27FC236}">
                    <a16:creationId xmlns:a16="http://schemas.microsoft.com/office/drawing/2014/main" id="{D7753E5C-6BCD-4B9B-A425-A4D691D808D1}"/>
                  </a:ext>
                </a:extLst>
              </p:cNvPr>
              <p:cNvSpPr>
                <a:spLocks/>
              </p:cNvSpPr>
              <p:nvPr/>
            </p:nvSpPr>
            <p:spPr bwMode="auto">
              <a:xfrm>
                <a:off x="4600723" y="4091293"/>
                <a:ext cx="7224" cy="3664"/>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2" name="Freeform 247">
                <a:extLst>
                  <a:ext uri="{FF2B5EF4-FFF2-40B4-BE49-F238E27FC236}">
                    <a16:creationId xmlns:a16="http://schemas.microsoft.com/office/drawing/2014/main" id="{C7EF7932-2305-43A6-AFBB-7746FA901341}"/>
                  </a:ext>
                </a:extLst>
              </p:cNvPr>
              <p:cNvSpPr>
                <a:spLocks/>
              </p:cNvSpPr>
              <p:nvPr/>
            </p:nvSpPr>
            <p:spPr bwMode="auto">
              <a:xfrm>
                <a:off x="4607947" y="4094957"/>
                <a:ext cx="3612" cy="2442"/>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3" name="Freeform 248">
                <a:extLst>
                  <a:ext uri="{FF2B5EF4-FFF2-40B4-BE49-F238E27FC236}">
                    <a16:creationId xmlns:a16="http://schemas.microsoft.com/office/drawing/2014/main" id="{341803E0-57E2-4715-A3BF-04C6CFBAE9FF}"/>
                  </a:ext>
                </a:extLst>
              </p:cNvPr>
              <p:cNvSpPr>
                <a:spLocks/>
              </p:cNvSpPr>
              <p:nvPr/>
            </p:nvSpPr>
            <p:spPr bwMode="auto">
              <a:xfrm>
                <a:off x="4605539" y="4088851"/>
                <a:ext cx="2408" cy="2442"/>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4" name="Freeform 249">
                <a:extLst>
                  <a:ext uri="{FF2B5EF4-FFF2-40B4-BE49-F238E27FC236}">
                    <a16:creationId xmlns:a16="http://schemas.microsoft.com/office/drawing/2014/main" id="{C3EFC31B-78C1-40D5-949D-516DCD8C59CD}"/>
                  </a:ext>
                </a:extLst>
              </p:cNvPr>
              <p:cNvSpPr>
                <a:spLocks/>
              </p:cNvSpPr>
              <p:nvPr/>
            </p:nvSpPr>
            <p:spPr bwMode="auto">
              <a:xfrm>
                <a:off x="4607947" y="4029014"/>
                <a:ext cx="6019" cy="12212"/>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5" name="Freeform 250">
                <a:extLst>
                  <a:ext uri="{FF2B5EF4-FFF2-40B4-BE49-F238E27FC236}">
                    <a16:creationId xmlns:a16="http://schemas.microsoft.com/office/drawing/2014/main" id="{38219086-FC01-4827-B3F5-B26555FE3A8B}"/>
                  </a:ext>
                </a:extLst>
              </p:cNvPr>
              <p:cNvSpPr>
                <a:spLocks/>
              </p:cNvSpPr>
              <p:nvPr/>
            </p:nvSpPr>
            <p:spPr bwMode="auto">
              <a:xfrm>
                <a:off x="4586277" y="4043669"/>
                <a:ext cx="25282" cy="18317"/>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6" name="Freeform 251">
                <a:extLst>
                  <a:ext uri="{FF2B5EF4-FFF2-40B4-BE49-F238E27FC236}">
                    <a16:creationId xmlns:a16="http://schemas.microsoft.com/office/drawing/2014/main" id="{FF804100-4FF2-4FD7-AC4A-8D97E3050224}"/>
                  </a:ext>
                </a:extLst>
              </p:cNvPr>
              <p:cNvSpPr>
                <a:spLocks/>
              </p:cNvSpPr>
              <p:nvPr/>
            </p:nvSpPr>
            <p:spPr bwMode="auto">
              <a:xfrm>
                <a:off x="4588685" y="4010697"/>
                <a:ext cx="9632" cy="6106"/>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7" name="Freeform 252">
                <a:extLst>
                  <a:ext uri="{FF2B5EF4-FFF2-40B4-BE49-F238E27FC236}">
                    <a16:creationId xmlns:a16="http://schemas.microsoft.com/office/drawing/2014/main" id="{95B17AF9-FEBC-4B16-A37E-DBF55E913ED5}"/>
                  </a:ext>
                </a:extLst>
              </p:cNvPr>
              <p:cNvSpPr>
                <a:spLocks/>
              </p:cNvSpPr>
              <p:nvPr/>
            </p:nvSpPr>
            <p:spPr bwMode="auto">
              <a:xfrm>
                <a:off x="4600723" y="3983831"/>
                <a:ext cx="4815" cy="7326"/>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8" name="Freeform 253">
                <a:extLst>
                  <a:ext uri="{FF2B5EF4-FFF2-40B4-BE49-F238E27FC236}">
                    <a16:creationId xmlns:a16="http://schemas.microsoft.com/office/drawing/2014/main" id="{B342A71E-57F5-46D3-87E2-D949D3598CC3}"/>
                  </a:ext>
                </a:extLst>
              </p:cNvPr>
              <p:cNvSpPr>
                <a:spLocks/>
              </p:cNvSpPr>
              <p:nvPr/>
            </p:nvSpPr>
            <p:spPr bwMode="auto">
              <a:xfrm>
                <a:off x="4605539" y="3967956"/>
                <a:ext cx="6019" cy="9770"/>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9" name="Freeform 254">
                <a:extLst>
                  <a:ext uri="{FF2B5EF4-FFF2-40B4-BE49-F238E27FC236}">
                    <a16:creationId xmlns:a16="http://schemas.microsoft.com/office/drawing/2014/main" id="{24D9DA6E-E5F4-4B4B-84FF-61DE169B4DDE}"/>
                  </a:ext>
                </a:extLst>
              </p:cNvPr>
              <p:cNvSpPr>
                <a:spLocks/>
              </p:cNvSpPr>
              <p:nvPr/>
            </p:nvSpPr>
            <p:spPr bwMode="auto">
              <a:xfrm>
                <a:off x="4598315" y="3932543"/>
                <a:ext cx="2408" cy="1099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0" name="Freeform 255">
                <a:extLst>
                  <a:ext uri="{FF2B5EF4-FFF2-40B4-BE49-F238E27FC236}">
                    <a16:creationId xmlns:a16="http://schemas.microsoft.com/office/drawing/2014/main" id="{428FBF8A-2BDC-4219-BFCB-823DFABE5001}"/>
                  </a:ext>
                </a:extLst>
              </p:cNvPr>
              <p:cNvSpPr>
                <a:spLocks/>
              </p:cNvSpPr>
              <p:nvPr/>
            </p:nvSpPr>
            <p:spPr bwMode="auto">
              <a:xfrm>
                <a:off x="4628413" y="3983831"/>
                <a:ext cx="7224" cy="12212"/>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1" name="Freeform 256">
                <a:extLst>
                  <a:ext uri="{FF2B5EF4-FFF2-40B4-BE49-F238E27FC236}">
                    <a16:creationId xmlns:a16="http://schemas.microsoft.com/office/drawing/2014/main" id="{50A7B0F0-E2FA-4FAE-B864-92B0E0791C3B}"/>
                  </a:ext>
                </a:extLst>
              </p:cNvPr>
              <p:cNvSpPr>
                <a:spLocks/>
              </p:cNvSpPr>
              <p:nvPr/>
            </p:nvSpPr>
            <p:spPr bwMode="auto">
              <a:xfrm>
                <a:off x="4523674" y="3870264"/>
                <a:ext cx="2408" cy="4884"/>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2" name="Freeform 257">
                <a:extLst>
                  <a:ext uri="{FF2B5EF4-FFF2-40B4-BE49-F238E27FC236}">
                    <a16:creationId xmlns:a16="http://schemas.microsoft.com/office/drawing/2014/main" id="{AF017041-A1EB-4C5D-A56C-31592DC47260}"/>
                  </a:ext>
                </a:extLst>
              </p:cNvPr>
              <p:cNvSpPr>
                <a:spLocks/>
              </p:cNvSpPr>
              <p:nvPr/>
            </p:nvSpPr>
            <p:spPr bwMode="auto">
              <a:xfrm>
                <a:off x="4532102" y="3882475"/>
                <a:ext cx="9632" cy="2442"/>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3" name="Freeform 258">
                <a:extLst>
                  <a:ext uri="{FF2B5EF4-FFF2-40B4-BE49-F238E27FC236}">
                    <a16:creationId xmlns:a16="http://schemas.microsoft.com/office/drawing/2014/main" id="{A03E3C95-DDAF-4BDC-BD35-C23AFF7C6C96}"/>
                  </a:ext>
                </a:extLst>
              </p:cNvPr>
              <p:cNvSpPr>
                <a:spLocks/>
              </p:cNvSpPr>
              <p:nvPr/>
            </p:nvSpPr>
            <p:spPr bwMode="auto">
              <a:xfrm>
                <a:off x="4600723" y="3945975"/>
                <a:ext cx="10835" cy="17096"/>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4" name="Freeform 259">
                <a:extLst>
                  <a:ext uri="{FF2B5EF4-FFF2-40B4-BE49-F238E27FC236}">
                    <a16:creationId xmlns:a16="http://schemas.microsoft.com/office/drawing/2014/main" id="{106551B6-6599-4BD9-8059-2E11BA113990}"/>
                  </a:ext>
                </a:extLst>
              </p:cNvPr>
              <p:cNvSpPr>
                <a:spLocks/>
              </p:cNvSpPr>
              <p:nvPr/>
            </p:nvSpPr>
            <p:spPr bwMode="auto">
              <a:xfrm>
                <a:off x="4588685" y="3910562"/>
                <a:ext cx="9632" cy="14654"/>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5" name="Freeform 260">
                <a:extLst>
                  <a:ext uri="{FF2B5EF4-FFF2-40B4-BE49-F238E27FC236}">
                    <a16:creationId xmlns:a16="http://schemas.microsoft.com/office/drawing/2014/main" id="{C5922A60-37E9-437B-9C29-9EC0CCEDF2B5}"/>
                  </a:ext>
                </a:extLst>
              </p:cNvPr>
              <p:cNvSpPr>
                <a:spLocks/>
              </p:cNvSpPr>
              <p:nvPr/>
            </p:nvSpPr>
            <p:spPr bwMode="auto">
              <a:xfrm>
                <a:off x="4593500" y="3910562"/>
                <a:ext cx="12039" cy="7326"/>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6" name="Freeform 261">
                <a:extLst>
                  <a:ext uri="{FF2B5EF4-FFF2-40B4-BE49-F238E27FC236}">
                    <a16:creationId xmlns:a16="http://schemas.microsoft.com/office/drawing/2014/main" id="{49A377FE-DF3C-4C67-A9A1-C3206B5F183D}"/>
                  </a:ext>
                </a:extLst>
              </p:cNvPr>
              <p:cNvSpPr>
                <a:spLocks/>
              </p:cNvSpPr>
              <p:nvPr/>
            </p:nvSpPr>
            <p:spPr bwMode="auto">
              <a:xfrm>
                <a:off x="4600723" y="3922773"/>
                <a:ext cx="4815" cy="2442"/>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7" name="Freeform 262">
                <a:extLst>
                  <a:ext uri="{FF2B5EF4-FFF2-40B4-BE49-F238E27FC236}">
                    <a16:creationId xmlns:a16="http://schemas.microsoft.com/office/drawing/2014/main" id="{AA101C61-A9C0-4821-8B26-E505E4D2294E}"/>
                  </a:ext>
                </a:extLst>
              </p:cNvPr>
              <p:cNvSpPr>
                <a:spLocks/>
              </p:cNvSpPr>
              <p:nvPr/>
            </p:nvSpPr>
            <p:spPr bwMode="auto">
              <a:xfrm>
                <a:off x="4565810" y="3875148"/>
                <a:ext cx="4815" cy="2442"/>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8" name="Freeform 263">
                <a:extLst>
                  <a:ext uri="{FF2B5EF4-FFF2-40B4-BE49-F238E27FC236}">
                    <a16:creationId xmlns:a16="http://schemas.microsoft.com/office/drawing/2014/main" id="{ED204959-981E-438B-9125-C667476E33C6}"/>
                  </a:ext>
                </a:extLst>
              </p:cNvPr>
              <p:cNvSpPr>
                <a:spLocks/>
              </p:cNvSpPr>
              <p:nvPr/>
            </p:nvSpPr>
            <p:spPr bwMode="auto">
              <a:xfrm>
                <a:off x="4565810" y="3865379"/>
                <a:ext cx="4815" cy="9770"/>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9" name="Freeform 264">
                <a:extLst>
                  <a:ext uri="{FF2B5EF4-FFF2-40B4-BE49-F238E27FC236}">
                    <a16:creationId xmlns:a16="http://schemas.microsoft.com/office/drawing/2014/main" id="{98429002-9FBF-4AA6-80A9-B03F8F0A41FB}"/>
                  </a:ext>
                </a:extLst>
              </p:cNvPr>
              <p:cNvSpPr>
                <a:spLocks/>
              </p:cNvSpPr>
              <p:nvPr/>
            </p:nvSpPr>
            <p:spPr bwMode="auto">
              <a:xfrm>
                <a:off x="4581461" y="3903235"/>
                <a:ext cx="4815" cy="4884"/>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0" name="Freeform 265">
                <a:extLst>
                  <a:ext uri="{FF2B5EF4-FFF2-40B4-BE49-F238E27FC236}">
                    <a16:creationId xmlns:a16="http://schemas.microsoft.com/office/drawing/2014/main" id="{47129D59-FFEA-47CB-A29F-D351069FEA9C}"/>
                  </a:ext>
                </a:extLst>
              </p:cNvPr>
              <p:cNvSpPr>
                <a:spLocks/>
              </p:cNvSpPr>
              <p:nvPr/>
            </p:nvSpPr>
            <p:spPr bwMode="auto">
              <a:xfrm>
                <a:off x="4576645" y="3892244"/>
                <a:ext cx="2408" cy="4884"/>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1" name="Freeform 266">
                <a:extLst>
                  <a:ext uri="{FF2B5EF4-FFF2-40B4-BE49-F238E27FC236}">
                    <a16:creationId xmlns:a16="http://schemas.microsoft.com/office/drawing/2014/main" id="{E487283F-876D-48CE-8F8B-4BF685E33F17}"/>
                  </a:ext>
                </a:extLst>
              </p:cNvPr>
              <p:cNvSpPr>
                <a:spLocks/>
              </p:cNvSpPr>
              <p:nvPr/>
            </p:nvSpPr>
            <p:spPr bwMode="auto">
              <a:xfrm>
                <a:off x="4571830" y="3889801"/>
                <a:ext cx="4815" cy="7326"/>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2" name="Freeform 267">
                <a:extLst>
                  <a:ext uri="{FF2B5EF4-FFF2-40B4-BE49-F238E27FC236}">
                    <a16:creationId xmlns:a16="http://schemas.microsoft.com/office/drawing/2014/main" id="{D5494D1F-D87E-476E-8D3F-97093EB29027}"/>
                  </a:ext>
                </a:extLst>
              </p:cNvPr>
              <p:cNvSpPr>
                <a:spLocks/>
              </p:cNvSpPr>
              <p:nvPr/>
            </p:nvSpPr>
            <p:spPr bwMode="auto">
              <a:xfrm>
                <a:off x="4588685" y="3897129"/>
                <a:ext cx="4815" cy="2442"/>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3" name="Freeform 268">
                <a:extLst>
                  <a:ext uri="{FF2B5EF4-FFF2-40B4-BE49-F238E27FC236}">
                    <a16:creationId xmlns:a16="http://schemas.microsoft.com/office/drawing/2014/main" id="{2CC8C1F8-F7D4-4DAB-AD19-D9C38DB8A9BB}"/>
                  </a:ext>
                </a:extLst>
              </p:cNvPr>
              <p:cNvSpPr>
                <a:spLocks/>
              </p:cNvSpPr>
              <p:nvPr/>
            </p:nvSpPr>
            <p:spPr bwMode="auto">
              <a:xfrm>
                <a:off x="4588685" y="3882475"/>
                <a:ext cx="4815" cy="7326"/>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4" name="Freeform 269">
                <a:extLst>
                  <a:ext uri="{FF2B5EF4-FFF2-40B4-BE49-F238E27FC236}">
                    <a16:creationId xmlns:a16="http://schemas.microsoft.com/office/drawing/2014/main" id="{9E895ED2-F4D0-46B4-8B24-9C8C74DA0F3F}"/>
                  </a:ext>
                </a:extLst>
              </p:cNvPr>
              <p:cNvSpPr>
                <a:spLocks noEditPoints="1"/>
              </p:cNvSpPr>
              <p:nvPr/>
            </p:nvSpPr>
            <p:spPr bwMode="auto">
              <a:xfrm>
                <a:off x="3124749" y="1939610"/>
                <a:ext cx="1639703" cy="1340834"/>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45" name="Freeform 289">
                <a:extLst>
                  <a:ext uri="{FF2B5EF4-FFF2-40B4-BE49-F238E27FC236}">
                    <a16:creationId xmlns:a16="http://schemas.microsoft.com/office/drawing/2014/main" id="{89DCC312-B86F-44B3-9018-E25218A1B454}"/>
                  </a:ext>
                </a:extLst>
              </p:cNvPr>
              <p:cNvSpPr>
                <a:spLocks noEditPoints="1"/>
              </p:cNvSpPr>
              <p:nvPr/>
            </p:nvSpPr>
            <p:spPr bwMode="auto">
              <a:xfrm>
                <a:off x="2617911" y="2385334"/>
                <a:ext cx="1908171" cy="1492257"/>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46" name="Freeform 290">
                <a:extLst>
                  <a:ext uri="{FF2B5EF4-FFF2-40B4-BE49-F238E27FC236}">
                    <a16:creationId xmlns:a16="http://schemas.microsoft.com/office/drawing/2014/main" id="{44FE122E-4B67-444B-BC1E-271B7722425B}"/>
                  </a:ext>
                </a:extLst>
              </p:cNvPr>
              <p:cNvSpPr>
                <a:spLocks/>
              </p:cNvSpPr>
              <p:nvPr/>
            </p:nvSpPr>
            <p:spPr bwMode="auto">
              <a:xfrm>
                <a:off x="4350313" y="4171890"/>
                <a:ext cx="745210" cy="928082"/>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7" name="Freeform 291">
                <a:extLst>
                  <a:ext uri="{FF2B5EF4-FFF2-40B4-BE49-F238E27FC236}">
                    <a16:creationId xmlns:a16="http://schemas.microsoft.com/office/drawing/2014/main" id="{5491F4FC-9093-48BC-8A29-F8DC077848FB}"/>
                  </a:ext>
                </a:extLst>
              </p:cNvPr>
              <p:cNvSpPr>
                <a:spLocks/>
              </p:cNvSpPr>
              <p:nvPr/>
            </p:nvSpPr>
            <p:spPr bwMode="auto">
              <a:xfrm>
                <a:off x="4801773" y="4245160"/>
                <a:ext cx="6019" cy="7326"/>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8" name="Freeform 292">
                <a:extLst>
                  <a:ext uri="{FF2B5EF4-FFF2-40B4-BE49-F238E27FC236}">
                    <a16:creationId xmlns:a16="http://schemas.microsoft.com/office/drawing/2014/main" id="{D5DAC281-0650-4F04-8B10-CB1F2103E8FA}"/>
                  </a:ext>
                </a:extLst>
              </p:cNvPr>
              <p:cNvSpPr>
                <a:spLocks/>
              </p:cNvSpPr>
              <p:nvPr/>
            </p:nvSpPr>
            <p:spPr bwMode="auto">
              <a:xfrm>
                <a:off x="4801773" y="4280573"/>
                <a:ext cx="8427" cy="9770"/>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9" name="Freeform 293">
                <a:extLst>
                  <a:ext uri="{FF2B5EF4-FFF2-40B4-BE49-F238E27FC236}">
                    <a16:creationId xmlns:a16="http://schemas.microsoft.com/office/drawing/2014/main" id="{936F331B-F827-405E-83D9-A691614548B0}"/>
                  </a:ext>
                </a:extLst>
              </p:cNvPr>
              <p:cNvSpPr>
                <a:spLocks/>
              </p:cNvSpPr>
              <p:nvPr/>
            </p:nvSpPr>
            <p:spPr bwMode="auto">
              <a:xfrm>
                <a:off x="4796958" y="4283016"/>
                <a:ext cx="6019" cy="1099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0" name="Freeform 294">
                <a:extLst>
                  <a:ext uri="{FF2B5EF4-FFF2-40B4-BE49-F238E27FC236}">
                    <a16:creationId xmlns:a16="http://schemas.microsoft.com/office/drawing/2014/main" id="{7C2DC57B-0F78-477B-A8FB-A5F686F857B3}"/>
                  </a:ext>
                </a:extLst>
              </p:cNvPr>
              <p:cNvSpPr>
                <a:spLocks/>
              </p:cNvSpPr>
              <p:nvPr/>
            </p:nvSpPr>
            <p:spPr bwMode="auto">
              <a:xfrm>
                <a:off x="4782511" y="4301333"/>
                <a:ext cx="7224" cy="7326"/>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1" name="Freeform 295">
                <a:extLst>
                  <a:ext uri="{FF2B5EF4-FFF2-40B4-BE49-F238E27FC236}">
                    <a16:creationId xmlns:a16="http://schemas.microsoft.com/office/drawing/2014/main" id="{A0A14549-32EC-4534-B338-FF53138D0946}"/>
                  </a:ext>
                </a:extLst>
              </p:cNvPr>
              <p:cNvSpPr>
                <a:spLocks/>
              </p:cNvSpPr>
              <p:nvPr/>
            </p:nvSpPr>
            <p:spPr bwMode="auto">
              <a:xfrm>
                <a:off x="4787327" y="4308659"/>
                <a:ext cx="7224" cy="7326"/>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2" name="Freeform 296">
                <a:extLst>
                  <a:ext uri="{FF2B5EF4-FFF2-40B4-BE49-F238E27FC236}">
                    <a16:creationId xmlns:a16="http://schemas.microsoft.com/office/drawing/2014/main" id="{CB9D52E7-D190-4331-8501-3C7AB0B51AAE}"/>
                  </a:ext>
                </a:extLst>
              </p:cNvPr>
              <p:cNvSpPr>
                <a:spLocks/>
              </p:cNvSpPr>
              <p:nvPr/>
            </p:nvSpPr>
            <p:spPr bwMode="auto">
              <a:xfrm>
                <a:off x="4787327" y="4303775"/>
                <a:ext cx="7224" cy="4884"/>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3" name="Freeform 297">
                <a:extLst>
                  <a:ext uri="{FF2B5EF4-FFF2-40B4-BE49-F238E27FC236}">
                    <a16:creationId xmlns:a16="http://schemas.microsoft.com/office/drawing/2014/main" id="{11EA4AD2-4C9D-4574-A9A6-5D447C53CEC0}"/>
                  </a:ext>
                </a:extLst>
              </p:cNvPr>
              <p:cNvSpPr>
                <a:spLocks/>
              </p:cNvSpPr>
              <p:nvPr/>
            </p:nvSpPr>
            <p:spPr bwMode="auto">
              <a:xfrm>
                <a:off x="4802978" y="4275688"/>
                <a:ext cx="7224" cy="7326"/>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4" name="Freeform 298">
                <a:extLst>
                  <a:ext uri="{FF2B5EF4-FFF2-40B4-BE49-F238E27FC236}">
                    <a16:creationId xmlns:a16="http://schemas.microsoft.com/office/drawing/2014/main" id="{5BF41AED-EBB1-497B-B5F7-6E15E1E988A1}"/>
                  </a:ext>
                </a:extLst>
              </p:cNvPr>
              <p:cNvSpPr>
                <a:spLocks/>
              </p:cNvSpPr>
              <p:nvPr/>
            </p:nvSpPr>
            <p:spPr bwMode="auto">
              <a:xfrm>
                <a:off x="4193807" y="4071755"/>
                <a:ext cx="114370" cy="59838"/>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5" name="Freeform 299">
                <a:extLst>
                  <a:ext uri="{FF2B5EF4-FFF2-40B4-BE49-F238E27FC236}">
                    <a16:creationId xmlns:a16="http://schemas.microsoft.com/office/drawing/2014/main" id="{BC82E5D2-F744-4510-8B01-A97F518945D3}"/>
                  </a:ext>
                </a:extLst>
              </p:cNvPr>
              <p:cNvSpPr>
                <a:spLocks/>
              </p:cNvSpPr>
              <p:nvPr/>
            </p:nvSpPr>
            <p:spPr bwMode="auto">
              <a:xfrm>
                <a:off x="4220293" y="4116938"/>
                <a:ext cx="6019" cy="12212"/>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6" name="Freeform 300">
                <a:extLst>
                  <a:ext uri="{FF2B5EF4-FFF2-40B4-BE49-F238E27FC236}">
                    <a16:creationId xmlns:a16="http://schemas.microsoft.com/office/drawing/2014/main" id="{E2FD6D18-18C6-47B1-9EF1-BAB25D810063}"/>
                  </a:ext>
                </a:extLst>
              </p:cNvPr>
              <p:cNvSpPr>
                <a:spLocks/>
              </p:cNvSpPr>
              <p:nvPr/>
            </p:nvSpPr>
            <p:spPr bwMode="auto">
              <a:xfrm>
                <a:off x="4273264" y="4097399"/>
                <a:ext cx="4815" cy="7326"/>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grpSp>
        <p:grpSp>
          <p:nvGrpSpPr>
            <p:cNvPr id="662" name="Group 661">
              <a:extLst>
                <a:ext uri="{FF2B5EF4-FFF2-40B4-BE49-F238E27FC236}">
                  <a16:creationId xmlns:a16="http://schemas.microsoft.com/office/drawing/2014/main" id="{85818524-9B64-446F-8F03-F65CD29395D0}"/>
                </a:ext>
              </a:extLst>
            </p:cNvPr>
            <p:cNvGrpSpPr/>
            <p:nvPr/>
          </p:nvGrpSpPr>
          <p:grpSpPr>
            <a:xfrm>
              <a:off x="4380410" y="1918851"/>
              <a:ext cx="4921262" cy="3516978"/>
              <a:chOff x="4380410" y="1918851"/>
              <a:chExt cx="4921262" cy="3516978"/>
            </a:xfrm>
          </p:grpSpPr>
          <p:sp>
            <p:nvSpPr>
              <p:cNvPr id="663" name="Freeform 10">
                <a:extLst>
                  <a:ext uri="{FF2B5EF4-FFF2-40B4-BE49-F238E27FC236}">
                    <a16:creationId xmlns:a16="http://schemas.microsoft.com/office/drawing/2014/main" id="{53B57361-5AB9-45EC-AB83-C5B62E39E0E6}"/>
                  </a:ext>
                </a:extLst>
              </p:cNvPr>
              <p:cNvSpPr>
                <a:spLocks/>
              </p:cNvSpPr>
              <p:nvPr/>
            </p:nvSpPr>
            <p:spPr bwMode="auto">
              <a:xfrm>
                <a:off x="7110396" y="2968267"/>
                <a:ext cx="1152601" cy="861707"/>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664" name="Freeform 11">
                <a:extLst>
                  <a:ext uri="{FF2B5EF4-FFF2-40B4-BE49-F238E27FC236}">
                    <a16:creationId xmlns:a16="http://schemas.microsoft.com/office/drawing/2014/main" id="{66B50D1C-2A0A-4E9C-A057-96108316CC40}"/>
                  </a:ext>
                </a:extLst>
              </p:cNvPr>
              <p:cNvSpPr>
                <a:spLocks noEditPoints="1"/>
              </p:cNvSpPr>
              <p:nvPr/>
            </p:nvSpPr>
            <p:spPr bwMode="auto">
              <a:xfrm>
                <a:off x="8843540" y="5113446"/>
                <a:ext cx="230278" cy="322383"/>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5" name="Freeform 42">
                <a:extLst>
                  <a:ext uri="{FF2B5EF4-FFF2-40B4-BE49-F238E27FC236}">
                    <a16:creationId xmlns:a16="http://schemas.microsoft.com/office/drawing/2014/main" id="{9E3221ED-FACF-43B1-B978-EED65A8A8641}"/>
                  </a:ext>
                </a:extLst>
              </p:cNvPr>
              <p:cNvSpPr>
                <a:spLocks/>
              </p:cNvSpPr>
              <p:nvPr/>
            </p:nvSpPr>
            <p:spPr bwMode="auto">
              <a:xfrm>
                <a:off x="7230384" y="3579098"/>
                <a:ext cx="159982" cy="105441"/>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6" name="Freeform 43">
                <a:extLst>
                  <a:ext uri="{FF2B5EF4-FFF2-40B4-BE49-F238E27FC236}">
                    <a16:creationId xmlns:a16="http://schemas.microsoft.com/office/drawing/2014/main" id="{FA39B36F-2974-4D46-A688-0C7518D8AA43}"/>
                  </a:ext>
                </a:extLst>
              </p:cNvPr>
              <p:cNvSpPr>
                <a:spLocks/>
              </p:cNvSpPr>
              <p:nvPr/>
            </p:nvSpPr>
            <p:spPr bwMode="auto">
              <a:xfrm>
                <a:off x="7392790" y="3631212"/>
                <a:ext cx="70295" cy="46054"/>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7" name="Freeform 44">
                <a:extLst>
                  <a:ext uri="{FF2B5EF4-FFF2-40B4-BE49-F238E27FC236}">
                    <a16:creationId xmlns:a16="http://schemas.microsoft.com/office/drawing/2014/main" id="{30D67AFA-562F-46CD-ACBF-E3B14DEFB28C}"/>
                  </a:ext>
                </a:extLst>
              </p:cNvPr>
              <p:cNvSpPr>
                <a:spLocks/>
              </p:cNvSpPr>
              <p:nvPr/>
            </p:nvSpPr>
            <p:spPr bwMode="auto">
              <a:xfrm>
                <a:off x="7379458" y="3674843"/>
                <a:ext cx="90899" cy="149072"/>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8" name="Freeform 53">
                <a:extLst>
                  <a:ext uri="{FF2B5EF4-FFF2-40B4-BE49-F238E27FC236}">
                    <a16:creationId xmlns:a16="http://schemas.microsoft.com/office/drawing/2014/main" id="{5EF6F8D1-0B9B-4604-A774-C0516123BB73}"/>
                  </a:ext>
                </a:extLst>
              </p:cNvPr>
              <p:cNvSpPr>
                <a:spLocks/>
              </p:cNvSpPr>
              <p:nvPr/>
            </p:nvSpPr>
            <p:spPr bwMode="auto">
              <a:xfrm>
                <a:off x="7978180" y="3703930"/>
                <a:ext cx="39996" cy="95745"/>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9" name="Freeform 54">
                <a:extLst>
                  <a:ext uri="{FF2B5EF4-FFF2-40B4-BE49-F238E27FC236}">
                    <a16:creationId xmlns:a16="http://schemas.microsoft.com/office/drawing/2014/main" id="{5E2665D5-CB67-4B05-ADC4-125E8A052DDD}"/>
                  </a:ext>
                </a:extLst>
              </p:cNvPr>
              <p:cNvSpPr>
                <a:spLocks/>
              </p:cNvSpPr>
              <p:nvPr/>
            </p:nvSpPr>
            <p:spPr bwMode="auto">
              <a:xfrm>
                <a:off x="8063019" y="3261563"/>
                <a:ext cx="117563" cy="143012"/>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0" name="Freeform 55">
                <a:extLst>
                  <a:ext uri="{FF2B5EF4-FFF2-40B4-BE49-F238E27FC236}">
                    <a16:creationId xmlns:a16="http://schemas.microsoft.com/office/drawing/2014/main" id="{7DB7FBE0-1D64-4A1C-A4CA-9514C18576CD}"/>
                  </a:ext>
                </a:extLst>
              </p:cNvPr>
              <p:cNvSpPr>
                <a:spLocks/>
              </p:cNvSpPr>
              <p:nvPr/>
            </p:nvSpPr>
            <p:spPr bwMode="auto">
              <a:xfrm>
                <a:off x="8093319" y="3374275"/>
                <a:ext cx="66660" cy="112713"/>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671" name="Freeform 56">
                <a:extLst>
                  <a:ext uri="{FF2B5EF4-FFF2-40B4-BE49-F238E27FC236}">
                    <a16:creationId xmlns:a16="http://schemas.microsoft.com/office/drawing/2014/main" id="{D0866709-2A61-41BB-95B5-60784A15DF5A}"/>
                  </a:ext>
                </a:extLst>
              </p:cNvPr>
              <p:cNvSpPr>
                <a:spLocks/>
              </p:cNvSpPr>
              <p:nvPr/>
            </p:nvSpPr>
            <p:spPr bwMode="auto">
              <a:xfrm>
                <a:off x="8090895" y="3503956"/>
                <a:ext cx="21816" cy="13331"/>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2" name="Freeform 57">
                <a:extLst>
                  <a:ext uri="{FF2B5EF4-FFF2-40B4-BE49-F238E27FC236}">
                    <a16:creationId xmlns:a16="http://schemas.microsoft.com/office/drawing/2014/main" id="{0C282792-94C5-4CC9-A834-BE688C190E13}"/>
                  </a:ext>
                </a:extLst>
              </p:cNvPr>
              <p:cNvSpPr>
                <a:spLocks/>
              </p:cNvSpPr>
              <p:nvPr/>
            </p:nvSpPr>
            <p:spPr bwMode="auto">
              <a:xfrm>
                <a:off x="8152707" y="3474869"/>
                <a:ext cx="7272" cy="16967"/>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3" name="Freeform 58">
                <a:extLst>
                  <a:ext uri="{FF2B5EF4-FFF2-40B4-BE49-F238E27FC236}">
                    <a16:creationId xmlns:a16="http://schemas.microsoft.com/office/drawing/2014/main" id="{6244497D-BBB9-41B2-A38D-E442E5EF3C06}"/>
                  </a:ext>
                </a:extLst>
              </p:cNvPr>
              <p:cNvSpPr>
                <a:spLocks/>
              </p:cNvSpPr>
              <p:nvPr/>
            </p:nvSpPr>
            <p:spPr bwMode="auto">
              <a:xfrm>
                <a:off x="8090895" y="3479716"/>
                <a:ext cx="9696" cy="4848"/>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4" name="Freeform 59">
                <a:extLst>
                  <a:ext uri="{FF2B5EF4-FFF2-40B4-BE49-F238E27FC236}">
                    <a16:creationId xmlns:a16="http://schemas.microsoft.com/office/drawing/2014/main" id="{E57CF5A9-6E7E-4F43-826E-53DE6C4A5A09}"/>
                  </a:ext>
                </a:extLst>
              </p:cNvPr>
              <p:cNvSpPr>
                <a:spLocks/>
              </p:cNvSpPr>
              <p:nvPr/>
            </p:nvSpPr>
            <p:spPr bwMode="auto">
              <a:xfrm>
                <a:off x="8090895" y="3468809"/>
                <a:ext cx="2424" cy="6060"/>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5" name="Freeform 60">
                <a:extLst>
                  <a:ext uri="{FF2B5EF4-FFF2-40B4-BE49-F238E27FC236}">
                    <a16:creationId xmlns:a16="http://schemas.microsoft.com/office/drawing/2014/main" id="{571D510C-647A-4C4A-8CBA-1BC0670308FE}"/>
                  </a:ext>
                </a:extLst>
              </p:cNvPr>
              <p:cNvSpPr>
                <a:spLocks/>
              </p:cNvSpPr>
              <p:nvPr/>
            </p:nvSpPr>
            <p:spPr bwMode="auto">
              <a:xfrm>
                <a:off x="8098167" y="3428814"/>
                <a:ext cx="2424" cy="4848"/>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6" name="Freeform 61">
                <a:extLst>
                  <a:ext uri="{FF2B5EF4-FFF2-40B4-BE49-F238E27FC236}">
                    <a16:creationId xmlns:a16="http://schemas.microsoft.com/office/drawing/2014/main" id="{49F65DF2-6C79-44AE-9044-EC9BBA16EEA7}"/>
                  </a:ext>
                </a:extLst>
              </p:cNvPr>
              <p:cNvSpPr>
                <a:spLocks/>
              </p:cNvSpPr>
              <p:nvPr/>
            </p:nvSpPr>
            <p:spPr bwMode="auto">
              <a:xfrm>
                <a:off x="8138163" y="3468809"/>
                <a:ext cx="7272" cy="6060"/>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7" name="Freeform 62">
                <a:extLst>
                  <a:ext uri="{FF2B5EF4-FFF2-40B4-BE49-F238E27FC236}">
                    <a16:creationId xmlns:a16="http://schemas.microsoft.com/office/drawing/2014/main" id="{6CDF4572-F4A1-4709-BAE8-88CE369616C1}"/>
                  </a:ext>
                </a:extLst>
              </p:cNvPr>
              <p:cNvSpPr>
                <a:spLocks/>
              </p:cNvSpPr>
              <p:nvPr/>
            </p:nvSpPr>
            <p:spPr bwMode="auto">
              <a:xfrm>
                <a:off x="8126043" y="3468809"/>
                <a:ext cx="4848" cy="6060"/>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8" name="Freeform 63">
                <a:extLst>
                  <a:ext uri="{FF2B5EF4-FFF2-40B4-BE49-F238E27FC236}">
                    <a16:creationId xmlns:a16="http://schemas.microsoft.com/office/drawing/2014/main" id="{263AE880-EB06-4528-9EBE-C9B7673AEAFA}"/>
                  </a:ext>
                </a:extLst>
              </p:cNvPr>
              <p:cNvSpPr>
                <a:spLocks/>
              </p:cNvSpPr>
              <p:nvPr/>
            </p:nvSpPr>
            <p:spPr bwMode="auto">
              <a:xfrm>
                <a:off x="8100591" y="3486988"/>
                <a:ext cx="4848" cy="4848"/>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9" name="Freeform 64">
                <a:extLst>
                  <a:ext uri="{FF2B5EF4-FFF2-40B4-BE49-F238E27FC236}">
                    <a16:creationId xmlns:a16="http://schemas.microsoft.com/office/drawing/2014/main" id="{8113E9D3-4095-4FF6-AC0A-642B04724DA0}"/>
                  </a:ext>
                </a:extLst>
              </p:cNvPr>
              <p:cNvSpPr>
                <a:spLocks/>
              </p:cNvSpPr>
              <p:nvPr/>
            </p:nvSpPr>
            <p:spPr bwMode="auto">
              <a:xfrm>
                <a:off x="8098167" y="3396091"/>
                <a:ext cx="2424" cy="8484"/>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0" name="Freeform 65">
                <a:extLst>
                  <a:ext uri="{FF2B5EF4-FFF2-40B4-BE49-F238E27FC236}">
                    <a16:creationId xmlns:a16="http://schemas.microsoft.com/office/drawing/2014/main" id="{C8C7199B-7513-4EEF-9056-ECB3819F3387}"/>
                  </a:ext>
                </a:extLst>
              </p:cNvPr>
              <p:cNvSpPr>
                <a:spLocks/>
              </p:cNvSpPr>
              <p:nvPr/>
            </p:nvSpPr>
            <p:spPr bwMode="auto">
              <a:xfrm>
                <a:off x="7764870" y="3829974"/>
                <a:ext cx="46056" cy="49691"/>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1" name="Freeform 66">
                <a:extLst>
                  <a:ext uri="{FF2B5EF4-FFF2-40B4-BE49-F238E27FC236}">
                    <a16:creationId xmlns:a16="http://schemas.microsoft.com/office/drawing/2014/main" id="{642912D6-4920-4028-8215-FBE659CBECB6}"/>
                  </a:ext>
                </a:extLst>
              </p:cNvPr>
              <p:cNvSpPr>
                <a:spLocks/>
              </p:cNvSpPr>
              <p:nvPr/>
            </p:nvSpPr>
            <p:spPr bwMode="auto">
              <a:xfrm>
                <a:off x="7227959" y="4072368"/>
                <a:ext cx="42419" cy="94533"/>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2" name="Freeform 67">
                <a:extLst>
                  <a:ext uri="{FF2B5EF4-FFF2-40B4-BE49-F238E27FC236}">
                    <a16:creationId xmlns:a16="http://schemas.microsoft.com/office/drawing/2014/main" id="{102E3F94-2F5D-4FB8-8A0E-2E4E9AB53643}"/>
                  </a:ext>
                </a:extLst>
              </p:cNvPr>
              <p:cNvSpPr>
                <a:spLocks/>
              </p:cNvSpPr>
              <p:nvPr/>
            </p:nvSpPr>
            <p:spPr bwMode="auto">
              <a:xfrm>
                <a:off x="7460661" y="3623940"/>
                <a:ext cx="169678" cy="448428"/>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3" name="Freeform 68">
                <a:extLst>
                  <a:ext uri="{FF2B5EF4-FFF2-40B4-BE49-F238E27FC236}">
                    <a16:creationId xmlns:a16="http://schemas.microsoft.com/office/drawing/2014/main" id="{5BC6CA6D-2BBD-462E-9110-877AFBDA95A4}"/>
                  </a:ext>
                </a:extLst>
              </p:cNvPr>
              <p:cNvSpPr>
                <a:spLocks/>
              </p:cNvSpPr>
              <p:nvPr/>
            </p:nvSpPr>
            <p:spPr bwMode="auto">
              <a:xfrm>
                <a:off x="7557620" y="3823914"/>
                <a:ext cx="157558" cy="347834"/>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4" name="Freeform 69">
                <a:extLst>
                  <a:ext uri="{FF2B5EF4-FFF2-40B4-BE49-F238E27FC236}">
                    <a16:creationId xmlns:a16="http://schemas.microsoft.com/office/drawing/2014/main" id="{4D98391E-3DE2-47D0-8AC7-D10297F92E8F}"/>
                  </a:ext>
                </a:extLst>
              </p:cNvPr>
              <p:cNvSpPr>
                <a:spLocks/>
              </p:cNvSpPr>
              <p:nvPr/>
            </p:nvSpPr>
            <p:spPr bwMode="auto">
              <a:xfrm>
                <a:off x="7467933" y="3985107"/>
                <a:ext cx="12120" cy="54539"/>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5" name="Freeform 70">
                <a:extLst>
                  <a:ext uri="{FF2B5EF4-FFF2-40B4-BE49-F238E27FC236}">
                    <a16:creationId xmlns:a16="http://schemas.microsoft.com/office/drawing/2014/main" id="{193BE1D9-B9EA-4FF0-974F-D8BC2202707F}"/>
                  </a:ext>
                </a:extLst>
              </p:cNvPr>
              <p:cNvSpPr>
                <a:spLocks/>
              </p:cNvSpPr>
              <p:nvPr/>
            </p:nvSpPr>
            <p:spPr bwMode="auto">
              <a:xfrm>
                <a:off x="7463086" y="4046917"/>
                <a:ext cx="7272" cy="12120"/>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6" name="Freeform 71">
                <a:extLst>
                  <a:ext uri="{FF2B5EF4-FFF2-40B4-BE49-F238E27FC236}">
                    <a16:creationId xmlns:a16="http://schemas.microsoft.com/office/drawing/2014/main" id="{AA66F3FF-BFE4-45A9-A6CB-262EB6A0E5FD}"/>
                  </a:ext>
                </a:extLst>
              </p:cNvPr>
              <p:cNvSpPr>
                <a:spLocks/>
              </p:cNvSpPr>
              <p:nvPr/>
            </p:nvSpPr>
            <p:spPr bwMode="auto">
              <a:xfrm>
                <a:off x="7487325" y="4131754"/>
                <a:ext cx="9696" cy="13331"/>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7" name="Freeform 72">
                <a:extLst>
                  <a:ext uri="{FF2B5EF4-FFF2-40B4-BE49-F238E27FC236}">
                    <a16:creationId xmlns:a16="http://schemas.microsoft.com/office/drawing/2014/main" id="{7C7F797A-14C9-4FBC-BD58-A6448F4ADEF1}"/>
                  </a:ext>
                </a:extLst>
              </p:cNvPr>
              <p:cNvSpPr>
                <a:spLocks/>
              </p:cNvSpPr>
              <p:nvPr/>
            </p:nvSpPr>
            <p:spPr bwMode="auto">
              <a:xfrm>
                <a:off x="7467933" y="4082063"/>
                <a:ext cx="7272" cy="9696"/>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8" name="Freeform 73">
                <a:extLst>
                  <a:ext uri="{FF2B5EF4-FFF2-40B4-BE49-F238E27FC236}">
                    <a16:creationId xmlns:a16="http://schemas.microsoft.com/office/drawing/2014/main" id="{9F1745CE-AC10-432C-90B5-B504D3F9C844}"/>
                  </a:ext>
                </a:extLst>
              </p:cNvPr>
              <p:cNvSpPr>
                <a:spLocks/>
              </p:cNvSpPr>
              <p:nvPr/>
            </p:nvSpPr>
            <p:spPr bwMode="auto">
              <a:xfrm>
                <a:off x="7482476" y="4112362"/>
                <a:ext cx="4848" cy="4848"/>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9" name="Freeform 74">
                <a:extLst>
                  <a:ext uri="{FF2B5EF4-FFF2-40B4-BE49-F238E27FC236}">
                    <a16:creationId xmlns:a16="http://schemas.microsoft.com/office/drawing/2014/main" id="{66D9200A-38E9-4112-BEF1-5D5B91C5373F}"/>
                  </a:ext>
                </a:extLst>
              </p:cNvPr>
              <p:cNvSpPr>
                <a:spLocks/>
              </p:cNvSpPr>
              <p:nvPr/>
            </p:nvSpPr>
            <p:spPr bwMode="auto">
              <a:xfrm>
                <a:off x="7647307" y="3749985"/>
                <a:ext cx="138167" cy="357530"/>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0" name="Freeform 75">
                <a:extLst>
                  <a:ext uri="{FF2B5EF4-FFF2-40B4-BE49-F238E27FC236}">
                    <a16:creationId xmlns:a16="http://schemas.microsoft.com/office/drawing/2014/main" id="{3DBB6336-F259-4E38-826F-379F3BE76631}"/>
                  </a:ext>
                </a:extLst>
              </p:cNvPr>
              <p:cNvSpPr>
                <a:spLocks/>
              </p:cNvSpPr>
              <p:nvPr/>
            </p:nvSpPr>
            <p:spPr bwMode="auto">
              <a:xfrm>
                <a:off x="7612160" y="3776649"/>
                <a:ext cx="140591" cy="204822"/>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1" name="Freeform 76">
                <a:extLst>
                  <a:ext uri="{FF2B5EF4-FFF2-40B4-BE49-F238E27FC236}">
                    <a16:creationId xmlns:a16="http://schemas.microsoft.com/office/drawing/2014/main" id="{8C328BD4-EC99-4D56-A842-D397D555F442}"/>
                  </a:ext>
                </a:extLst>
              </p:cNvPr>
              <p:cNvSpPr>
                <a:spLocks/>
              </p:cNvSpPr>
              <p:nvPr/>
            </p:nvSpPr>
            <p:spPr bwMode="auto">
              <a:xfrm>
                <a:off x="7647307" y="3959655"/>
                <a:ext cx="103019" cy="99381"/>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2" name="Freeform 210">
                <a:extLst>
                  <a:ext uri="{FF2B5EF4-FFF2-40B4-BE49-F238E27FC236}">
                    <a16:creationId xmlns:a16="http://schemas.microsoft.com/office/drawing/2014/main" id="{69D485DF-6C3A-466A-A47C-2B357C49B1FF}"/>
                  </a:ext>
                </a:extLst>
              </p:cNvPr>
              <p:cNvSpPr>
                <a:spLocks noEditPoints="1"/>
              </p:cNvSpPr>
              <p:nvPr/>
            </p:nvSpPr>
            <p:spPr bwMode="auto">
              <a:xfrm>
                <a:off x="7926066" y="3863910"/>
                <a:ext cx="181798" cy="345410"/>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3" name="Freeform 211">
                <a:extLst>
                  <a:ext uri="{FF2B5EF4-FFF2-40B4-BE49-F238E27FC236}">
                    <a16:creationId xmlns:a16="http://schemas.microsoft.com/office/drawing/2014/main" id="{0CF8365C-8098-40FC-8966-71944BDEF976}"/>
                  </a:ext>
                </a:extLst>
              </p:cNvPr>
              <p:cNvSpPr>
                <a:spLocks/>
              </p:cNvSpPr>
              <p:nvPr/>
            </p:nvSpPr>
            <p:spPr bwMode="auto">
              <a:xfrm>
                <a:off x="9036246" y="4700166"/>
                <a:ext cx="42419" cy="20604"/>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4" name="Freeform 212">
                <a:extLst>
                  <a:ext uri="{FF2B5EF4-FFF2-40B4-BE49-F238E27FC236}">
                    <a16:creationId xmlns:a16="http://schemas.microsoft.com/office/drawing/2014/main" id="{72A6A5D5-19A7-4AF4-8445-F4333AB3686B}"/>
                  </a:ext>
                </a:extLst>
              </p:cNvPr>
              <p:cNvSpPr>
                <a:spLocks/>
              </p:cNvSpPr>
              <p:nvPr/>
            </p:nvSpPr>
            <p:spPr bwMode="auto">
              <a:xfrm>
                <a:off x="9066547" y="4667443"/>
                <a:ext cx="37571" cy="25451"/>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5" name="Freeform 213">
                <a:extLst>
                  <a:ext uri="{FF2B5EF4-FFF2-40B4-BE49-F238E27FC236}">
                    <a16:creationId xmlns:a16="http://schemas.microsoft.com/office/drawing/2014/main" id="{75A31D4E-6918-4BCA-B7AC-34E06609058E}"/>
                  </a:ext>
                </a:extLst>
              </p:cNvPr>
              <p:cNvSpPr>
                <a:spLocks/>
              </p:cNvSpPr>
              <p:nvPr/>
            </p:nvSpPr>
            <p:spPr bwMode="auto">
              <a:xfrm>
                <a:off x="7783051" y="4137814"/>
                <a:ext cx="185434" cy="146647"/>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6" name="Freeform 214">
                <a:extLst>
                  <a:ext uri="{FF2B5EF4-FFF2-40B4-BE49-F238E27FC236}">
                    <a16:creationId xmlns:a16="http://schemas.microsoft.com/office/drawing/2014/main" id="{E387374A-27BD-4DB5-8509-A97C8BE06DDF}"/>
                  </a:ext>
                </a:extLst>
              </p:cNvPr>
              <p:cNvSpPr>
                <a:spLocks/>
              </p:cNvSpPr>
              <p:nvPr/>
            </p:nvSpPr>
            <p:spPr bwMode="auto">
              <a:xfrm>
                <a:off x="7867889" y="4180233"/>
                <a:ext cx="23028" cy="29087"/>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7" name="Freeform 215">
                <a:extLst>
                  <a:ext uri="{FF2B5EF4-FFF2-40B4-BE49-F238E27FC236}">
                    <a16:creationId xmlns:a16="http://schemas.microsoft.com/office/drawing/2014/main" id="{AD74952B-1F0A-4ACB-ACE2-B0C40E595633}"/>
                  </a:ext>
                </a:extLst>
              </p:cNvPr>
              <p:cNvSpPr>
                <a:spLocks/>
              </p:cNvSpPr>
              <p:nvPr/>
            </p:nvSpPr>
            <p:spPr bwMode="auto">
              <a:xfrm>
                <a:off x="7887281" y="4185081"/>
                <a:ext cx="6060" cy="19391"/>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8" name="Freeform 216">
                <a:extLst>
                  <a:ext uri="{FF2B5EF4-FFF2-40B4-BE49-F238E27FC236}">
                    <a16:creationId xmlns:a16="http://schemas.microsoft.com/office/drawing/2014/main" id="{4BF6F1DA-863B-41A3-8397-B9EF2DFA5838}"/>
                  </a:ext>
                </a:extLst>
              </p:cNvPr>
              <p:cNvSpPr>
                <a:spLocks noEditPoints="1"/>
              </p:cNvSpPr>
              <p:nvPr/>
            </p:nvSpPr>
            <p:spPr bwMode="auto">
              <a:xfrm>
                <a:off x="8356321" y="4329304"/>
                <a:ext cx="296937" cy="236334"/>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9" name="Freeform 217">
                <a:extLst>
                  <a:ext uri="{FF2B5EF4-FFF2-40B4-BE49-F238E27FC236}">
                    <a16:creationId xmlns:a16="http://schemas.microsoft.com/office/drawing/2014/main" id="{F1E2BF3F-88FA-403A-8920-E87DDF05E4D9}"/>
                  </a:ext>
                </a:extLst>
              </p:cNvPr>
              <p:cNvSpPr>
                <a:spLocks noEditPoints="1"/>
              </p:cNvSpPr>
              <p:nvPr/>
            </p:nvSpPr>
            <p:spPr bwMode="auto">
              <a:xfrm>
                <a:off x="8645986" y="4448077"/>
                <a:ext cx="124835" cy="124832"/>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0" name="Freeform 218">
                <a:extLst>
                  <a:ext uri="{FF2B5EF4-FFF2-40B4-BE49-F238E27FC236}">
                    <a16:creationId xmlns:a16="http://schemas.microsoft.com/office/drawing/2014/main" id="{8DFEF5BE-8DBE-4C76-885F-B9DBDD6BA15F}"/>
                  </a:ext>
                </a:extLst>
              </p:cNvPr>
              <p:cNvSpPr>
                <a:spLocks noEditPoints="1"/>
              </p:cNvSpPr>
              <p:nvPr/>
            </p:nvSpPr>
            <p:spPr bwMode="auto">
              <a:xfrm>
                <a:off x="8845964" y="4634720"/>
                <a:ext cx="58175" cy="122409"/>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1" name="Freeform 219">
                <a:extLst>
                  <a:ext uri="{FF2B5EF4-FFF2-40B4-BE49-F238E27FC236}">
                    <a16:creationId xmlns:a16="http://schemas.microsoft.com/office/drawing/2014/main" id="{2D580298-AC42-46A2-BBFD-BADE7BB19E35}"/>
                  </a:ext>
                </a:extLst>
              </p:cNvPr>
              <p:cNvSpPr>
                <a:spLocks noEditPoints="1"/>
              </p:cNvSpPr>
              <p:nvPr/>
            </p:nvSpPr>
            <p:spPr bwMode="auto">
              <a:xfrm>
                <a:off x="8793849" y="4765612"/>
                <a:ext cx="89687" cy="54539"/>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2" name="Freeform 220">
                <a:extLst>
                  <a:ext uri="{FF2B5EF4-FFF2-40B4-BE49-F238E27FC236}">
                    <a16:creationId xmlns:a16="http://schemas.microsoft.com/office/drawing/2014/main" id="{53F6489F-522C-4A5A-978F-E75BCBC03B0F}"/>
                  </a:ext>
                </a:extLst>
              </p:cNvPr>
              <p:cNvSpPr>
                <a:spLocks/>
              </p:cNvSpPr>
              <p:nvPr/>
            </p:nvSpPr>
            <p:spPr bwMode="auto">
              <a:xfrm>
                <a:off x="7612160" y="4140238"/>
                <a:ext cx="77567" cy="134529"/>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3" name="Freeform 221">
                <a:extLst>
                  <a:ext uri="{FF2B5EF4-FFF2-40B4-BE49-F238E27FC236}">
                    <a16:creationId xmlns:a16="http://schemas.microsoft.com/office/drawing/2014/main" id="{7D75CBCD-963F-4975-B34F-CA21485D8285}"/>
                  </a:ext>
                </a:extLst>
              </p:cNvPr>
              <p:cNvSpPr>
                <a:spLocks/>
              </p:cNvSpPr>
              <p:nvPr/>
            </p:nvSpPr>
            <p:spPr bwMode="auto">
              <a:xfrm>
                <a:off x="7675184" y="4265071"/>
                <a:ext cx="7272" cy="9696"/>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4" name="Freeform 222">
                <a:extLst>
                  <a:ext uri="{FF2B5EF4-FFF2-40B4-BE49-F238E27FC236}">
                    <a16:creationId xmlns:a16="http://schemas.microsoft.com/office/drawing/2014/main" id="{A94AC1D7-9E03-40A3-9666-7A1409A4E6D5}"/>
                  </a:ext>
                </a:extLst>
              </p:cNvPr>
              <p:cNvSpPr>
                <a:spLocks noEditPoints="1"/>
              </p:cNvSpPr>
              <p:nvPr/>
            </p:nvSpPr>
            <p:spPr bwMode="auto">
              <a:xfrm>
                <a:off x="7515201" y="4164477"/>
                <a:ext cx="841120" cy="385405"/>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5" name="Freeform 236">
                <a:extLst>
                  <a:ext uri="{FF2B5EF4-FFF2-40B4-BE49-F238E27FC236}">
                    <a16:creationId xmlns:a16="http://schemas.microsoft.com/office/drawing/2014/main" id="{7CAB5BF7-9E59-48CB-B8FA-938C12877FDD}"/>
                  </a:ext>
                </a:extLst>
              </p:cNvPr>
              <p:cNvSpPr>
                <a:spLocks noEditPoints="1"/>
              </p:cNvSpPr>
              <p:nvPr/>
            </p:nvSpPr>
            <p:spPr bwMode="auto">
              <a:xfrm>
                <a:off x="8050899" y="3191268"/>
                <a:ext cx="412076" cy="542961"/>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706" name="Freeform 238">
                <a:extLst>
                  <a:ext uri="{FF2B5EF4-FFF2-40B4-BE49-F238E27FC236}">
                    <a16:creationId xmlns:a16="http://schemas.microsoft.com/office/drawing/2014/main" id="{337D1EC4-2AB3-4A53-A9C2-6A2C7DEE53CC}"/>
                  </a:ext>
                </a:extLst>
              </p:cNvPr>
              <p:cNvSpPr>
                <a:spLocks noEditPoints="1"/>
              </p:cNvSpPr>
              <p:nvPr/>
            </p:nvSpPr>
            <p:spPr bwMode="auto">
              <a:xfrm>
                <a:off x="7847286" y="4540187"/>
                <a:ext cx="765977" cy="813230"/>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707" name="Freeform 7">
                <a:extLst>
                  <a:ext uri="{FF2B5EF4-FFF2-40B4-BE49-F238E27FC236}">
                    <a16:creationId xmlns:a16="http://schemas.microsoft.com/office/drawing/2014/main" id="{627C7E92-604C-421A-8E01-0E4F3A19A71C}"/>
                  </a:ext>
                </a:extLst>
              </p:cNvPr>
              <p:cNvSpPr>
                <a:spLocks/>
              </p:cNvSpPr>
              <p:nvPr/>
            </p:nvSpPr>
            <p:spPr bwMode="auto">
              <a:xfrm>
                <a:off x="5274903" y="2551412"/>
                <a:ext cx="210682" cy="111126"/>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8" name="Freeform 12">
                <a:extLst>
                  <a:ext uri="{FF2B5EF4-FFF2-40B4-BE49-F238E27FC236}">
                    <a16:creationId xmlns:a16="http://schemas.microsoft.com/office/drawing/2014/main" id="{932EBDCE-2AF8-42A7-8695-EEB5D2C2B5DE}"/>
                  </a:ext>
                </a:extLst>
              </p:cNvPr>
              <p:cNvSpPr>
                <a:spLocks/>
              </p:cNvSpPr>
              <p:nvPr/>
            </p:nvSpPr>
            <p:spPr bwMode="auto">
              <a:xfrm>
                <a:off x="4380410" y="1918851"/>
                <a:ext cx="1142495" cy="849927"/>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9" name="Freeform 153">
                <a:extLst>
                  <a:ext uri="{FF2B5EF4-FFF2-40B4-BE49-F238E27FC236}">
                    <a16:creationId xmlns:a16="http://schemas.microsoft.com/office/drawing/2014/main" id="{21228F10-BB1E-4E59-9FB9-CF1539545ABF}"/>
                  </a:ext>
                </a:extLst>
              </p:cNvPr>
              <p:cNvSpPr>
                <a:spLocks/>
              </p:cNvSpPr>
              <p:nvPr/>
            </p:nvSpPr>
            <p:spPr bwMode="auto">
              <a:xfrm>
                <a:off x="5266476" y="3897130"/>
                <a:ext cx="8427" cy="1099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0" name="Freeform 154">
                <a:extLst>
                  <a:ext uri="{FF2B5EF4-FFF2-40B4-BE49-F238E27FC236}">
                    <a16:creationId xmlns:a16="http://schemas.microsoft.com/office/drawing/2014/main" id="{B90098CE-CE74-43E2-A665-0A290ED47940}"/>
                  </a:ext>
                </a:extLst>
              </p:cNvPr>
              <p:cNvSpPr>
                <a:spLocks/>
              </p:cNvSpPr>
              <p:nvPr/>
            </p:nvSpPr>
            <p:spPr bwMode="auto">
              <a:xfrm>
                <a:off x="5282127" y="3908120"/>
                <a:ext cx="9632" cy="7326"/>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1" name="Freeform 155">
                <a:extLst>
                  <a:ext uri="{FF2B5EF4-FFF2-40B4-BE49-F238E27FC236}">
                    <a16:creationId xmlns:a16="http://schemas.microsoft.com/office/drawing/2014/main" id="{163DC16D-5A02-4785-A3E7-A84B6E6F7024}"/>
                  </a:ext>
                </a:extLst>
              </p:cNvPr>
              <p:cNvSpPr>
                <a:spLocks/>
              </p:cNvSpPr>
              <p:nvPr/>
            </p:nvSpPr>
            <p:spPr bwMode="auto">
              <a:xfrm>
                <a:off x="5279718" y="3945976"/>
                <a:ext cx="7224" cy="9770"/>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2" name="Freeform 270">
                <a:extLst>
                  <a:ext uri="{FF2B5EF4-FFF2-40B4-BE49-F238E27FC236}">
                    <a16:creationId xmlns:a16="http://schemas.microsoft.com/office/drawing/2014/main" id="{DA2A2536-765E-4F20-B962-276B9E998931}"/>
                  </a:ext>
                </a:extLst>
              </p:cNvPr>
              <p:cNvSpPr>
                <a:spLocks/>
              </p:cNvSpPr>
              <p:nvPr/>
            </p:nvSpPr>
            <p:spPr bwMode="auto">
              <a:xfrm>
                <a:off x="5254437" y="3383022"/>
                <a:ext cx="18059" cy="8548"/>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3" name="Freeform 271">
                <a:extLst>
                  <a:ext uri="{FF2B5EF4-FFF2-40B4-BE49-F238E27FC236}">
                    <a16:creationId xmlns:a16="http://schemas.microsoft.com/office/drawing/2014/main" id="{ED0C156C-75F3-4DC2-B9AA-8EC2943F532E}"/>
                  </a:ext>
                </a:extLst>
              </p:cNvPr>
              <p:cNvSpPr>
                <a:spLocks/>
              </p:cNvSpPr>
              <p:nvPr/>
            </p:nvSpPr>
            <p:spPr bwMode="auto">
              <a:xfrm>
                <a:off x="5226748" y="3361041"/>
                <a:ext cx="10835" cy="7326"/>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4" name="Freeform 272">
                <a:extLst>
                  <a:ext uri="{FF2B5EF4-FFF2-40B4-BE49-F238E27FC236}">
                    <a16:creationId xmlns:a16="http://schemas.microsoft.com/office/drawing/2014/main" id="{8B0B416F-B28D-4170-BF02-31D7A3E247A5}"/>
                  </a:ext>
                </a:extLst>
              </p:cNvPr>
              <p:cNvSpPr>
                <a:spLocks/>
              </p:cNvSpPr>
              <p:nvPr/>
            </p:nvSpPr>
            <p:spPr bwMode="auto">
              <a:xfrm>
                <a:off x="5205078" y="3363483"/>
                <a:ext cx="14446" cy="9770"/>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5" name="Freeform 6">
                <a:extLst>
                  <a:ext uri="{FF2B5EF4-FFF2-40B4-BE49-F238E27FC236}">
                    <a16:creationId xmlns:a16="http://schemas.microsoft.com/office/drawing/2014/main" id="{7B963B9C-4142-4287-9A1E-4C7202AF9315}"/>
                  </a:ext>
                </a:extLst>
              </p:cNvPr>
              <p:cNvSpPr>
                <a:spLocks/>
              </p:cNvSpPr>
              <p:nvPr/>
            </p:nvSpPr>
            <p:spPr bwMode="auto">
              <a:xfrm>
                <a:off x="6154139" y="2996142"/>
                <a:ext cx="338145" cy="230274"/>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6" name="Freeform 8">
                <a:extLst>
                  <a:ext uri="{FF2B5EF4-FFF2-40B4-BE49-F238E27FC236}">
                    <a16:creationId xmlns:a16="http://schemas.microsoft.com/office/drawing/2014/main" id="{C0C1B025-8843-4EA7-A735-6154435B002B}"/>
                  </a:ext>
                </a:extLst>
              </p:cNvPr>
              <p:cNvSpPr>
                <a:spLocks/>
              </p:cNvSpPr>
              <p:nvPr/>
            </p:nvSpPr>
            <p:spPr bwMode="auto">
              <a:xfrm>
                <a:off x="5543297" y="2913728"/>
                <a:ext cx="86051" cy="119985"/>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7" name="Freeform 9">
                <a:extLst>
                  <a:ext uri="{FF2B5EF4-FFF2-40B4-BE49-F238E27FC236}">
                    <a16:creationId xmlns:a16="http://schemas.microsoft.com/office/drawing/2014/main" id="{76B8E462-1FC0-417F-97BA-0D4FFDF520DE}"/>
                  </a:ext>
                </a:extLst>
              </p:cNvPr>
              <p:cNvSpPr>
                <a:spLocks/>
              </p:cNvSpPr>
              <p:nvPr/>
            </p:nvSpPr>
            <p:spPr bwMode="auto">
              <a:xfrm>
                <a:off x="7379458" y="3008261"/>
                <a:ext cx="603570" cy="290872"/>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8" name="Freeform 13">
                <a:extLst>
                  <a:ext uri="{FF2B5EF4-FFF2-40B4-BE49-F238E27FC236}">
                    <a16:creationId xmlns:a16="http://schemas.microsoft.com/office/drawing/2014/main" id="{D4DEB4CE-496F-4266-8793-DD9E98E42306}"/>
                  </a:ext>
                </a:extLst>
              </p:cNvPr>
              <p:cNvSpPr>
                <a:spLocks/>
              </p:cNvSpPr>
              <p:nvPr/>
            </p:nvSpPr>
            <p:spPr bwMode="auto">
              <a:xfrm>
                <a:off x="6546822" y="4565638"/>
                <a:ext cx="140591" cy="334503"/>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9" name="Freeform 41">
                <a:extLst>
                  <a:ext uri="{FF2B5EF4-FFF2-40B4-BE49-F238E27FC236}">
                    <a16:creationId xmlns:a16="http://schemas.microsoft.com/office/drawing/2014/main" id="{2DCC7752-CE7E-4CDD-B64D-B3461432013F}"/>
                  </a:ext>
                </a:extLst>
              </p:cNvPr>
              <p:cNvSpPr>
                <a:spLocks/>
              </p:cNvSpPr>
              <p:nvPr/>
            </p:nvSpPr>
            <p:spPr bwMode="auto">
              <a:xfrm>
                <a:off x="7012226" y="3444569"/>
                <a:ext cx="550243" cy="679913"/>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0" name="Freeform 45">
                <a:extLst>
                  <a:ext uri="{FF2B5EF4-FFF2-40B4-BE49-F238E27FC236}">
                    <a16:creationId xmlns:a16="http://schemas.microsoft.com/office/drawing/2014/main" id="{13AD216B-F041-4208-80F6-135BE3191547}"/>
                  </a:ext>
                </a:extLst>
              </p:cNvPr>
              <p:cNvSpPr>
                <a:spLocks/>
              </p:cNvSpPr>
              <p:nvPr/>
            </p:nvSpPr>
            <p:spPr bwMode="auto">
              <a:xfrm>
                <a:off x="6871636" y="3376699"/>
                <a:ext cx="267850" cy="239969"/>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1" name="Freeform 46">
                <a:extLst>
                  <a:ext uri="{FF2B5EF4-FFF2-40B4-BE49-F238E27FC236}">
                    <a16:creationId xmlns:a16="http://schemas.microsoft.com/office/drawing/2014/main" id="{5F0B41DB-6B85-4327-91BA-22E672BAF6C6}"/>
                  </a:ext>
                </a:extLst>
              </p:cNvPr>
              <p:cNvSpPr>
                <a:spLocks/>
              </p:cNvSpPr>
              <p:nvPr/>
            </p:nvSpPr>
            <p:spPr bwMode="auto">
              <a:xfrm>
                <a:off x="6877695" y="3414269"/>
                <a:ext cx="315117" cy="333291"/>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2" name="Freeform 47">
                <a:extLst>
                  <a:ext uri="{FF2B5EF4-FFF2-40B4-BE49-F238E27FC236}">
                    <a16:creationId xmlns:a16="http://schemas.microsoft.com/office/drawing/2014/main" id="{6F43F358-3EEB-4145-8DD6-8D65457173A1}"/>
                  </a:ext>
                </a:extLst>
              </p:cNvPr>
              <p:cNvSpPr>
                <a:spLocks/>
              </p:cNvSpPr>
              <p:nvPr/>
            </p:nvSpPr>
            <p:spPr bwMode="auto">
              <a:xfrm>
                <a:off x="6562579" y="3341552"/>
                <a:ext cx="359960" cy="370862"/>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3" name="Freeform 48">
                <a:extLst>
                  <a:ext uri="{FF2B5EF4-FFF2-40B4-BE49-F238E27FC236}">
                    <a16:creationId xmlns:a16="http://schemas.microsoft.com/office/drawing/2014/main" id="{427E9400-E831-4B20-9516-3245C48C4522}"/>
                  </a:ext>
                </a:extLst>
              </p:cNvPr>
              <p:cNvSpPr>
                <a:spLocks/>
              </p:cNvSpPr>
              <p:nvPr/>
            </p:nvSpPr>
            <p:spPr bwMode="auto">
              <a:xfrm>
                <a:off x="6229281" y="3278529"/>
                <a:ext cx="347840" cy="168464"/>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4" name="Freeform 49">
                <a:extLst>
                  <a:ext uri="{FF2B5EF4-FFF2-40B4-BE49-F238E27FC236}">
                    <a16:creationId xmlns:a16="http://schemas.microsoft.com/office/drawing/2014/main" id="{30171F17-4799-4AF0-BA19-27FCE14D3C02}"/>
                  </a:ext>
                </a:extLst>
              </p:cNvPr>
              <p:cNvSpPr>
                <a:spLocks/>
              </p:cNvSpPr>
              <p:nvPr/>
            </p:nvSpPr>
            <p:spPr bwMode="auto">
              <a:xfrm>
                <a:off x="6717713" y="3263986"/>
                <a:ext cx="271485" cy="202398"/>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5" name="Freeform 50">
                <a:extLst>
                  <a:ext uri="{FF2B5EF4-FFF2-40B4-BE49-F238E27FC236}">
                    <a16:creationId xmlns:a16="http://schemas.microsoft.com/office/drawing/2014/main" id="{05F23968-7272-47BF-858D-3DD8960E8F29}"/>
                  </a:ext>
                </a:extLst>
              </p:cNvPr>
              <p:cNvSpPr>
                <a:spLocks/>
              </p:cNvSpPr>
              <p:nvPr/>
            </p:nvSpPr>
            <p:spPr bwMode="auto">
              <a:xfrm>
                <a:off x="6784372" y="3191268"/>
                <a:ext cx="328449" cy="223001"/>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6" name="Freeform 51">
                <a:extLst>
                  <a:ext uri="{FF2B5EF4-FFF2-40B4-BE49-F238E27FC236}">
                    <a16:creationId xmlns:a16="http://schemas.microsoft.com/office/drawing/2014/main" id="{C3D14147-6775-4D4A-B5BE-4358C358B5AB}"/>
                  </a:ext>
                </a:extLst>
              </p:cNvPr>
              <p:cNvSpPr>
                <a:spLocks/>
              </p:cNvSpPr>
              <p:nvPr/>
            </p:nvSpPr>
            <p:spPr bwMode="auto">
              <a:xfrm>
                <a:off x="7035254" y="3254291"/>
                <a:ext cx="202402" cy="107865"/>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7" name="Freeform 52">
                <a:extLst>
                  <a:ext uri="{FF2B5EF4-FFF2-40B4-BE49-F238E27FC236}">
                    <a16:creationId xmlns:a16="http://schemas.microsoft.com/office/drawing/2014/main" id="{EAB0918E-794D-4830-8E18-EABBE0ACB4DC}"/>
                  </a:ext>
                </a:extLst>
              </p:cNvPr>
              <p:cNvSpPr>
                <a:spLocks/>
              </p:cNvSpPr>
              <p:nvPr/>
            </p:nvSpPr>
            <p:spPr bwMode="auto">
              <a:xfrm>
                <a:off x="6995258" y="3311253"/>
                <a:ext cx="150287" cy="117561"/>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8" name="Freeform 77">
                <a:extLst>
                  <a:ext uri="{FF2B5EF4-FFF2-40B4-BE49-F238E27FC236}">
                    <a16:creationId xmlns:a16="http://schemas.microsoft.com/office/drawing/2014/main" id="{A303DE56-2C28-4187-AA5D-2CFF51A9F620}"/>
                  </a:ext>
                </a:extLst>
              </p:cNvPr>
              <p:cNvSpPr>
                <a:spLocks/>
              </p:cNvSpPr>
              <p:nvPr/>
            </p:nvSpPr>
            <p:spPr bwMode="auto">
              <a:xfrm>
                <a:off x="6389264" y="3536678"/>
                <a:ext cx="390260" cy="399949"/>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9" name="Freeform 78">
                <a:extLst>
                  <a:ext uri="{FF2B5EF4-FFF2-40B4-BE49-F238E27FC236}">
                    <a16:creationId xmlns:a16="http://schemas.microsoft.com/office/drawing/2014/main" id="{51C6C987-E94B-475E-A143-1CD8860676B6}"/>
                  </a:ext>
                </a:extLst>
              </p:cNvPr>
              <p:cNvSpPr>
                <a:spLocks/>
              </p:cNvSpPr>
              <p:nvPr/>
            </p:nvSpPr>
            <p:spPr bwMode="auto">
              <a:xfrm>
                <a:off x="6464408" y="3406998"/>
                <a:ext cx="183010" cy="209670"/>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0" name="Freeform 79">
                <a:extLst>
                  <a:ext uri="{FF2B5EF4-FFF2-40B4-BE49-F238E27FC236}">
                    <a16:creationId xmlns:a16="http://schemas.microsoft.com/office/drawing/2014/main" id="{5DD021A1-4783-4E60-9091-35B88774E20A}"/>
                  </a:ext>
                </a:extLst>
              </p:cNvPr>
              <p:cNvSpPr>
                <a:spLocks/>
              </p:cNvSpPr>
              <p:nvPr/>
            </p:nvSpPr>
            <p:spPr bwMode="auto">
              <a:xfrm>
                <a:off x="6612270" y="3591217"/>
                <a:ext cx="32724" cy="39995"/>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1" name="Freeform 80">
                <a:extLst>
                  <a:ext uri="{FF2B5EF4-FFF2-40B4-BE49-F238E27FC236}">
                    <a16:creationId xmlns:a16="http://schemas.microsoft.com/office/drawing/2014/main" id="{1D6CAA30-D38E-4D51-B0FF-04DC8CDDF6D2}"/>
                  </a:ext>
                </a:extLst>
              </p:cNvPr>
              <p:cNvSpPr>
                <a:spLocks/>
              </p:cNvSpPr>
              <p:nvPr/>
            </p:nvSpPr>
            <p:spPr bwMode="auto">
              <a:xfrm>
                <a:off x="6709230" y="3709989"/>
                <a:ext cx="150287" cy="202398"/>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2" name="Freeform 81">
                <a:extLst>
                  <a:ext uri="{FF2B5EF4-FFF2-40B4-BE49-F238E27FC236}">
                    <a16:creationId xmlns:a16="http://schemas.microsoft.com/office/drawing/2014/main" id="{E45A43E6-9181-4E38-9898-C3C549B6C9AE}"/>
                  </a:ext>
                </a:extLst>
              </p:cNvPr>
              <p:cNvSpPr>
                <a:spLocks/>
              </p:cNvSpPr>
              <p:nvPr/>
            </p:nvSpPr>
            <p:spPr bwMode="auto">
              <a:xfrm>
                <a:off x="6532279" y="3856637"/>
                <a:ext cx="202402" cy="152707"/>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3" name="Freeform 82">
                <a:extLst>
                  <a:ext uri="{FF2B5EF4-FFF2-40B4-BE49-F238E27FC236}">
                    <a16:creationId xmlns:a16="http://schemas.microsoft.com/office/drawing/2014/main" id="{C8387502-534A-4927-B1D9-2662A0EBCE7F}"/>
                  </a:ext>
                </a:extLst>
              </p:cNvPr>
              <p:cNvSpPr>
                <a:spLocks/>
              </p:cNvSpPr>
              <p:nvPr/>
            </p:nvSpPr>
            <p:spPr bwMode="auto">
              <a:xfrm>
                <a:off x="5909317" y="3514863"/>
                <a:ext cx="305420" cy="329654"/>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4" name="Freeform 84">
                <a:extLst>
                  <a:ext uri="{FF2B5EF4-FFF2-40B4-BE49-F238E27FC236}">
                    <a16:creationId xmlns:a16="http://schemas.microsoft.com/office/drawing/2014/main" id="{0E21CB78-7AC7-415E-BB37-2DDB016CB68B}"/>
                  </a:ext>
                </a:extLst>
              </p:cNvPr>
              <p:cNvSpPr>
                <a:spLocks/>
              </p:cNvSpPr>
              <p:nvPr/>
            </p:nvSpPr>
            <p:spPr bwMode="auto">
              <a:xfrm>
                <a:off x="6344421" y="3451841"/>
                <a:ext cx="44844" cy="2787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5" name="Freeform 85">
                <a:extLst>
                  <a:ext uri="{FF2B5EF4-FFF2-40B4-BE49-F238E27FC236}">
                    <a16:creationId xmlns:a16="http://schemas.microsoft.com/office/drawing/2014/main" id="{8572B222-933F-4FC7-BBA6-D0CA20B539BD}"/>
                  </a:ext>
                </a:extLst>
              </p:cNvPr>
              <p:cNvSpPr>
                <a:spLocks/>
              </p:cNvSpPr>
              <p:nvPr/>
            </p:nvSpPr>
            <p:spPr bwMode="auto">
              <a:xfrm>
                <a:off x="6008700" y="3439722"/>
                <a:ext cx="6060" cy="7271"/>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6" name="Freeform 86">
                <a:extLst>
                  <a:ext uri="{FF2B5EF4-FFF2-40B4-BE49-F238E27FC236}">
                    <a16:creationId xmlns:a16="http://schemas.microsoft.com/office/drawing/2014/main" id="{1B8EFB63-C0F6-47D0-9C7A-1F06144883C2}"/>
                  </a:ext>
                </a:extLst>
              </p:cNvPr>
              <p:cNvSpPr>
                <a:spLocks/>
              </p:cNvSpPr>
              <p:nvPr/>
            </p:nvSpPr>
            <p:spPr bwMode="auto">
              <a:xfrm>
                <a:off x="5583292" y="3409421"/>
                <a:ext cx="385413" cy="452063"/>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7" name="Freeform 87">
                <a:extLst>
                  <a:ext uri="{FF2B5EF4-FFF2-40B4-BE49-F238E27FC236}">
                    <a16:creationId xmlns:a16="http://schemas.microsoft.com/office/drawing/2014/main" id="{B4BB8582-A045-4737-BCB0-EE01CD9DD5FA}"/>
                  </a:ext>
                </a:extLst>
              </p:cNvPr>
              <p:cNvSpPr>
                <a:spLocks/>
              </p:cNvSpPr>
              <p:nvPr/>
            </p:nvSpPr>
            <p:spPr bwMode="auto">
              <a:xfrm>
                <a:off x="5881442" y="3406998"/>
                <a:ext cx="82415" cy="179371"/>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8" name="Freeform 88">
                <a:extLst>
                  <a:ext uri="{FF2B5EF4-FFF2-40B4-BE49-F238E27FC236}">
                    <a16:creationId xmlns:a16="http://schemas.microsoft.com/office/drawing/2014/main" id="{4E2D0254-2A35-4BF3-B80E-93C2F40173E0}"/>
                  </a:ext>
                </a:extLst>
              </p:cNvPr>
              <p:cNvSpPr>
                <a:spLocks/>
              </p:cNvSpPr>
              <p:nvPr/>
            </p:nvSpPr>
            <p:spPr bwMode="auto">
              <a:xfrm>
                <a:off x="6201406" y="3548798"/>
                <a:ext cx="213310" cy="250877"/>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9" name="Freeform 89">
                <a:extLst>
                  <a:ext uri="{FF2B5EF4-FFF2-40B4-BE49-F238E27FC236}">
                    <a16:creationId xmlns:a16="http://schemas.microsoft.com/office/drawing/2014/main" id="{D4CAC41A-2E3C-4519-9402-40D9AF015BD4}"/>
                  </a:ext>
                </a:extLst>
              </p:cNvPr>
              <p:cNvSpPr>
                <a:spLocks/>
              </p:cNvSpPr>
              <p:nvPr/>
            </p:nvSpPr>
            <p:spPr bwMode="auto">
              <a:xfrm>
                <a:off x="6407444" y="3406998"/>
                <a:ext cx="124835" cy="127256"/>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0" name="Freeform 90">
                <a:extLst>
                  <a:ext uri="{FF2B5EF4-FFF2-40B4-BE49-F238E27FC236}">
                    <a16:creationId xmlns:a16="http://schemas.microsoft.com/office/drawing/2014/main" id="{7D85EF64-A8B9-4730-8CEF-7909995A2200}"/>
                  </a:ext>
                </a:extLst>
              </p:cNvPr>
              <p:cNvSpPr>
                <a:spLocks/>
              </p:cNvSpPr>
              <p:nvPr/>
            </p:nvSpPr>
            <p:spPr bwMode="auto">
              <a:xfrm>
                <a:off x="6396536" y="3474868"/>
                <a:ext cx="27876" cy="39995"/>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1" name="Freeform 91">
                <a:extLst>
                  <a:ext uri="{FF2B5EF4-FFF2-40B4-BE49-F238E27FC236}">
                    <a16:creationId xmlns:a16="http://schemas.microsoft.com/office/drawing/2014/main" id="{A1BFF96A-3F5B-401D-9603-4C42C095D4B0}"/>
                  </a:ext>
                </a:extLst>
              </p:cNvPr>
              <p:cNvSpPr>
                <a:spLocks/>
              </p:cNvSpPr>
              <p:nvPr/>
            </p:nvSpPr>
            <p:spPr bwMode="auto">
              <a:xfrm>
                <a:off x="6394112" y="3508803"/>
                <a:ext cx="82415" cy="103017"/>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2" name="Freeform 92">
                <a:extLst>
                  <a:ext uri="{FF2B5EF4-FFF2-40B4-BE49-F238E27FC236}">
                    <a16:creationId xmlns:a16="http://schemas.microsoft.com/office/drawing/2014/main" id="{A567F7DF-18FE-464E-A391-37C27006ABF2}"/>
                  </a:ext>
                </a:extLst>
              </p:cNvPr>
              <p:cNvSpPr>
                <a:spLocks/>
              </p:cNvSpPr>
              <p:nvPr/>
            </p:nvSpPr>
            <p:spPr bwMode="auto">
              <a:xfrm>
                <a:off x="6509251" y="4016617"/>
                <a:ext cx="199978" cy="318746"/>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3" name="Freeform 93">
                <a:extLst>
                  <a:ext uri="{FF2B5EF4-FFF2-40B4-BE49-F238E27FC236}">
                    <a16:creationId xmlns:a16="http://schemas.microsoft.com/office/drawing/2014/main" id="{B1B67E2D-EF5E-414F-94E0-13759089BE53}"/>
                  </a:ext>
                </a:extLst>
              </p:cNvPr>
              <p:cNvSpPr>
                <a:spLocks/>
              </p:cNvSpPr>
              <p:nvPr/>
            </p:nvSpPr>
            <p:spPr bwMode="auto">
              <a:xfrm>
                <a:off x="6351693" y="3947534"/>
                <a:ext cx="288453" cy="275116"/>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4" name="Freeform 94">
                <a:extLst>
                  <a:ext uri="{FF2B5EF4-FFF2-40B4-BE49-F238E27FC236}">
                    <a16:creationId xmlns:a16="http://schemas.microsoft.com/office/drawing/2014/main" id="{6D48D068-34C9-4FB5-B47D-0C295AE93280}"/>
                  </a:ext>
                </a:extLst>
              </p:cNvPr>
              <p:cNvSpPr>
                <a:spLocks/>
              </p:cNvSpPr>
              <p:nvPr/>
            </p:nvSpPr>
            <p:spPr bwMode="auto">
              <a:xfrm>
                <a:off x="6417140" y="3879664"/>
                <a:ext cx="129682" cy="136952"/>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5" name="Freeform 95">
                <a:extLst>
                  <a:ext uri="{FF2B5EF4-FFF2-40B4-BE49-F238E27FC236}">
                    <a16:creationId xmlns:a16="http://schemas.microsoft.com/office/drawing/2014/main" id="{201E8FF1-999D-469C-973A-1E53A563A37A}"/>
                  </a:ext>
                </a:extLst>
              </p:cNvPr>
              <p:cNvSpPr>
                <a:spLocks/>
              </p:cNvSpPr>
              <p:nvPr/>
            </p:nvSpPr>
            <p:spPr bwMode="auto">
              <a:xfrm>
                <a:off x="6522583" y="4002073"/>
                <a:ext cx="33936" cy="49691"/>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6" name="Freeform 96">
                <a:extLst>
                  <a:ext uri="{FF2B5EF4-FFF2-40B4-BE49-F238E27FC236}">
                    <a16:creationId xmlns:a16="http://schemas.microsoft.com/office/drawing/2014/main" id="{AB015D25-0FA7-498A-8DE0-436703A1F45F}"/>
                  </a:ext>
                </a:extLst>
              </p:cNvPr>
              <p:cNvSpPr>
                <a:spLocks/>
              </p:cNvSpPr>
              <p:nvPr/>
            </p:nvSpPr>
            <p:spPr bwMode="auto">
              <a:xfrm>
                <a:off x="5971129" y="4166900"/>
                <a:ext cx="363597" cy="45327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7" name="Freeform 97">
                <a:extLst>
                  <a:ext uri="{FF2B5EF4-FFF2-40B4-BE49-F238E27FC236}">
                    <a16:creationId xmlns:a16="http://schemas.microsoft.com/office/drawing/2014/main" id="{C45772C9-2971-4CFE-9615-E078EC1E7BB7}"/>
                  </a:ext>
                </a:extLst>
              </p:cNvPr>
              <p:cNvSpPr>
                <a:spLocks/>
              </p:cNvSpPr>
              <p:nvPr/>
            </p:nvSpPr>
            <p:spPr bwMode="auto">
              <a:xfrm>
                <a:off x="6372296" y="4180232"/>
                <a:ext cx="152711" cy="224214"/>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8" name="Freeform 98">
                <a:extLst>
                  <a:ext uri="{FF2B5EF4-FFF2-40B4-BE49-F238E27FC236}">
                    <a16:creationId xmlns:a16="http://schemas.microsoft.com/office/drawing/2014/main" id="{E4405B16-6D9B-4A1A-8639-10D4344E527C}"/>
                  </a:ext>
                </a:extLst>
              </p:cNvPr>
              <p:cNvSpPr>
                <a:spLocks/>
              </p:cNvSpPr>
              <p:nvPr/>
            </p:nvSpPr>
            <p:spPr bwMode="auto">
              <a:xfrm>
                <a:off x="6297154" y="4199624"/>
                <a:ext cx="99383" cy="132104"/>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9" name="Freeform 99">
                <a:extLst>
                  <a:ext uri="{FF2B5EF4-FFF2-40B4-BE49-F238E27FC236}">
                    <a16:creationId xmlns:a16="http://schemas.microsoft.com/office/drawing/2014/main" id="{BED6A5E0-D478-455B-990D-ABCDE0C73970}"/>
                  </a:ext>
                </a:extLst>
              </p:cNvPr>
              <p:cNvSpPr>
                <a:spLocks/>
              </p:cNvSpPr>
              <p:nvPr/>
            </p:nvSpPr>
            <p:spPr bwMode="auto">
              <a:xfrm>
                <a:off x="5956584" y="4429898"/>
                <a:ext cx="239974" cy="289659"/>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0" name="Freeform 100">
                <a:extLst>
                  <a:ext uri="{FF2B5EF4-FFF2-40B4-BE49-F238E27FC236}">
                    <a16:creationId xmlns:a16="http://schemas.microsoft.com/office/drawing/2014/main" id="{67550EB6-5AE9-46B9-8B8D-7B69B6861864}"/>
                  </a:ext>
                </a:extLst>
              </p:cNvPr>
              <p:cNvSpPr>
                <a:spLocks/>
              </p:cNvSpPr>
              <p:nvPr/>
            </p:nvSpPr>
            <p:spPr bwMode="auto">
              <a:xfrm>
                <a:off x="6154139" y="4484435"/>
                <a:ext cx="218158" cy="236334"/>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1" name="Freeform 101">
                <a:extLst>
                  <a:ext uri="{FF2B5EF4-FFF2-40B4-BE49-F238E27FC236}">
                    <a16:creationId xmlns:a16="http://schemas.microsoft.com/office/drawing/2014/main" id="{DDC73E04-E121-41CD-AB6D-62469C698278}"/>
                  </a:ext>
                </a:extLst>
              </p:cNvPr>
              <p:cNvSpPr>
                <a:spLocks/>
              </p:cNvSpPr>
              <p:nvPr/>
            </p:nvSpPr>
            <p:spPr bwMode="auto">
              <a:xfrm>
                <a:off x="6304425" y="4540186"/>
                <a:ext cx="204826" cy="382981"/>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2" name="Freeform 102">
                <a:extLst>
                  <a:ext uri="{FF2B5EF4-FFF2-40B4-BE49-F238E27FC236}">
                    <a16:creationId xmlns:a16="http://schemas.microsoft.com/office/drawing/2014/main" id="{48A3F0B4-B34E-437E-843F-E6956F7ECAB2}"/>
                  </a:ext>
                </a:extLst>
              </p:cNvPr>
              <p:cNvSpPr>
                <a:spLocks/>
              </p:cNvSpPr>
              <p:nvPr/>
            </p:nvSpPr>
            <p:spPr bwMode="auto">
              <a:xfrm>
                <a:off x="5956584" y="4683198"/>
                <a:ext cx="258154" cy="294508"/>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3" name="Freeform 103">
                <a:extLst>
                  <a:ext uri="{FF2B5EF4-FFF2-40B4-BE49-F238E27FC236}">
                    <a16:creationId xmlns:a16="http://schemas.microsoft.com/office/drawing/2014/main" id="{F61DB3F6-4823-4AE5-9750-EBC872E53B10}"/>
                  </a:ext>
                </a:extLst>
              </p:cNvPr>
              <p:cNvSpPr>
                <a:spLocks/>
              </p:cNvSpPr>
              <p:nvPr/>
            </p:nvSpPr>
            <p:spPr bwMode="auto">
              <a:xfrm>
                <a:off x="6118991" y="4707437"/>
                <a:ext cx="170890" cy="223001"/>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4" name="Freeform 104">
                <a:extLst>
                  <a:ext uri="{FF2B5EF4-FFF2-40B4-BE49-F238E27FC236}">
                    <a16:creationId xmlns:a16="http://schemas.microsoft.com/office/drawing/2014/main" id="{85630315-37F0-4E8D-B310-4D5C24309528}"/>
                  </a:ext>
                </a:extLst>
              </p:cNvPr>
              <p:cNvSpPr>
                <a:spLocks/>
              </p:cNvSpPr>
              <p:nvPr/>
            </p:nvSpPr>
            <p:spPr bwMode="auto">
              <a:xfrm>
                <a:off x="6214738" y="4655323"/>
                <a:ext cx="150287" cy="162404"/>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5" name="Freeform 105">
                <a:extLst>
                  <a:ext uri="{FF2B5EF4-FFF2-40B4-BE49-F238E27FC236}">
                    <a16:creationId xmlns:a16="http://schemas.microsoft.com/office/drawing/2014/main" id="{81C5A299-D197-4140-9438-15190333A8E9}"/>
                  </a:ext>
                </a:extLst>
              </p:cNvPr>
              <p:cNvSpPr>
                <a:spLocks/>
              </p:cNvSpPr>
              <p:nvPr/>
            </p:nvSpPr>
            <p:spPr bwMode="auto">
              <a:xfrm>
                <a:off x="6051120" y="4810455"/>
                <a:ext cx="307845" cy="312687"/>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6" name="Freeform 106">
                <a:extLst>
                  <a:ext uri="{FF2B5EF4-FFF2-40B4-BE49-F238E27FC236}">
                    <a16:creationId xmlns:a16="http://schemas.microsoft.com/office/drawing/2014/main" id="{B762F2D1-73C4-4A10-8A52-AD26C4B87009}"/>
                  </a:ext>
                </a:extLst>
              </p:cNvPr>
              <p:cNvSpPr>
                <a:spLocks/>
              </p:cNvSpPr>
              <p:nvPr/>
            </p:nvSpPr>
            <p:spPr bwMode="auto">
              <a:xfrm>
                <a:off x="6243826" y="4958315"/>
                <a:ext cx="53328" cy="64234"/>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7" name="Freeform 107">
                <a:extLst>
                  <a:ext uri="{FF2B5EF4-FFF2-40B4-BE49-F238E27FC236}">
                    <a16:creationId xmlns:a16="http://schemas.microsoft.com/office/drawing/2014/main" id="{A62C7EAF-2A67-4665-A808-B722C3584463}"/>
                  </a:ext>
                </a:extLst>
              </p:cNvPr>
              <p:cNvSpPr>
                <a:spLocks/>
              </p:cNvSpPr>
              <p:nvPr/>
            </p:nvSpPr>
            <p:spPr bwMode="auto">
              <a:xfrm>
                <a:off x="6316545" y="4892868"/>
                <a:ext cx="27876" cy="44843"/>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8" name="Freeform 108">
                <a:extLst>
                  <a:ext uri="{FF2B5EF4-FFF2-40B4-BE49-F238E27FC236}">
                    <a16:creationId xmlns:a16="http://schemas.microsoft.com/office/drawing/2014/main" id="{C86F3B44-623E-4AAD-BC0B-CF3EAACABD7C}"/>
                  </a:ext>
                </a:extLst>
              </p:cNvPr>
              <p:cNvSpPr>
                <a:spLocks/>
              </p:cNvSpPr>
              <p:nvPr/>
            </p:nvSpPr>
            <p:spPr bwMode="auto">
              <a:xfrm>
                <a:off x="6351693" y="4514735"/>
                <a:ext cx="65447" cy="183007"/>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9" name="Freeform 109">
                <a:extLst>
                  <a:ext uri="{FF2B5EF4-FFF2-40B4-BE49-F238E27FC236}">
                    <a16:creationId xmlns:a16="http://schemas.microsoft.com/office/drawing/2014/main" id="{6BDCA352-A99B-43CC-8AB0-F1E5368A776C}"/>
                  </a:ext>
                </a:extLst>
              </p:cNvPr>
              <p:cNvSpPr>
                <a:spLocks/>
              </p:cNvSpPr>
              <p:nvPr/>
            </p:nvSpPr>
            <p:spPr bwMode="auto">
              <a:xfrm>
                <a:off x="5989308" y="3749984"/>
                <a:ext cx="207250" cy="376922"/>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0" name="Freeform 110">
                <a:extLst>
                  <a:ext uri="{FF2B5EF4-FFF2-40B4-BE49-F238E27FC236}">
                    <a16:creationId xmlns:a16="http://schemas.microsoft.com/office/drawing/2014/main" id="{7565077C-418D-4C27-BCD5-2BEBE1325AE3}"/>
                  </a:ext>
                </a:extLst>
              </p:cNvPr>
              <p:cNvSpPr>
                <a:spLocks/>
              </p:cNvSpPr>
              <p:nvPr/>
            </p:nvSpPr>
            <p:spPr bwMode="auto">
              <a:xfrm>
                <a:off x="5744486" y="3749984"/>
                <a:ext cx="304209" cy="277540"/>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1" name="Freeform 111">
                <a:extLst>
                  <a:ext uri="{FF2B5EF4-FFF2-40B4-BE49-F238E27FC236}">
                    <a16:creationId xmlns:a16="http://schemas.microsoft.com/office/drawing/2014/main" id="{89EB0176-D5EC-45A0-BF29-76CE49FACB89}"/>
                  </a:ext>
                </a:extLst>
              </p:cNvPr>
              <p:cNvSpPr>
                <a:spLocks/>
              </p:cNvSpPr>
              <p:nvPr/>
            </p:nvSpPr>
            <p:spPr bwMode="auto">
              <a:xfrm>
                <a:off x="5511785" y="3712414"/>
                <a:ext cx="312692" cy="359954"/>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2" name="Freeform 112">
                <a:extLst>
                  <a:ext uri="{FF2B5EF4-FFF2-40B4-BE49-F238E27FC236}">
                    <a16:creationId xmlns:a16="http://schemas.microsoft.com/office/drawing/2014/main" id="{3F2EC70B-8A05-4BC7-8D69-555E6442983D}"/>
                  </a:ext>
                </a:extLst>
              </p:cNvPr>
              <p:cNvSpPr>
                <a:spLocks/>
              </p:cNvSpPr>
              <p:nvPr/>
            </p:nvSpPr>
            <p:spPr bwMode="auto">
              <a:xfrm>
                <a:off x="5423310" y="3659087"/>
                <a:ext cx="232702" cy="300567"/>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3" name="Freeform 113">
                <a:extLst>
                  <a:ext uri="{FF2B5EF4-FFF2-40B4-BE49-F238E27FC236}">
                    <a16:creationId xmlns:a16="http://schemas.microsoft.com/office/drawing/2014/main" id="{D740F144-E271-4A1C-A8A4-AB2217067A05}"/>
                  </a:ext>
                </a:extLst>
              </p:cNvPr>
              <p:cNvSpPr>
                <a:spLocks/>
              </p:cNvSpPr>
              <p:nvPr/>
            </p:nvSpPr>
            <p:spPr bwMode="auto">
              <a:xfrm>
                <a:off x="5796602" y="3974198"/>
                <a:ext cx="225430" cy="22542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4" name="Freeform 114">
                <a:extLst>
                  <a:ext uri="{FF2B5EF4-FFF2-40B4-BE49-F238E27FC236}">
                    <a16:creationId xmlns:a16="http://schemas.microsoft.com/office/drawing/2014/main" id="{1901958B-0ECD-4C37-82AE-979B04EB996A}"/>
                  </a:ext>
                </a:extLst>
              </p:cNvPr>
              <p:cNvSpPr>
                <a:spLocks/>
              </p:cNvSpPr>
              <p:nvPr/>
            </p:nvSpPr>
            <p:spPr bwMode="auto">
              <a:xfrm>
                <a:off x="6011124" y="4044492"/>
                <a:ext cx="246034" cy="202398"/>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5" name="Freeform 115">
                <a:extLst>
                  <a:ext uri="{FF2B5EF4-FFF2-40B4-BE49-F238E27FC236}">
                    <a16:creationId xmlns:a16="http://schemas.microsoft.com/office/drawing/2014/main" id="{21BAB9CE-A847-42ED-8A3A-2017EEB9E1F9}"/>
                  </a:ext>
                </a:extLst>
              </p:cNvPr>
              <p:cNvSpPr>
                <a:spLocks/>
              </p:cNvSpPr>
              <p:nvPr/>
            </p:nvSpPr>
            <p:spPr bwMode="auto">
              <a:xfrm>
                <a:off x="5902045" y="3994802"/>
                <a:ext cx="146651" cy="265421"/>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6" name="Freeform 116">
                <a:extLst>
                  <a:ext uri="{FF2B5EF4-FFF2-40B4-BE49-F238E27FC236}">
                    <a16:creationId xmlns:a16="http://schemas.microsoft.com/office/drawing/2014/main" id="{CD1CBC94-4606-47F9-8ED3-5AD3009FBE70}"/>
                  </a:ext>
                </a:extLst>
              </p:cNvPr>
              <p:cNvSpPr>
                <a:spLocks/>
              </p:cNvSpPr>
              <p:nvPr/>
            </p:nvSpPr>
            <p:spPr bwMode="auto">
              <a:xfrm>
                <a:off x="5968704" y="4397174"/>
                <a:ext cx="20604" cy="32724"/>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7" name="Freeform 117">
                <a:extLst>
                  <a:ext uri="{FF2B5EF4-FFF2-40B4-BE49-F238E27FC236}">
                    <a16:creationId xmlns:a16="http://schemas.microsoft.com/office/drawing/2014/main" id="{08343C1E-B0C8-47D5-AF47-26EEE814EA1A}"/>
                  </a:ext>
                </a:extLst>
              </p:cNvPr>
              <p:cNvSpPr>
                <a:spLocks/>
              </p:cNvSpPr>
              <p:nvPr/>
            </p:nvSpPr>
            <p:spPr bwMode="auto">
              <a:xfrm>
                <a:off x="5949312" y="4211743"/>
                <a:ext cx="143014" cy="203610"/>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8" name="Freeform 118">
                <a:extLst>
                  <a:ext uri="{FF2B5EF4-FFF2-40B4-BE49-F238E27FC236}">
                    <a16:creationId xmlns:a16="http://schemas.microsoft.com/office/drawing/2014/main" id="{89559F17-726D-4E8C-BE61-C0EFD3A3B734}"/>
                  </a:ext>
                </a:extLst>
              </p:cNvPr>
              <p:cNvSpPr>
                <a:spLocks/>
              </p:cNvSpPr>
              <p:nvPr/>
            </p:nvSpPr>
            <p:spPr bwMode="auto">
              <a:xfrm>
                <a:off x="5902045" y="4244467"/>
                <a:ext cx="112715" cy="143012"/>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9" name="Freeform 119">
                <a:extLst>
                  <a:ext uri="{FF2B5EF4-FFF2-40B4-BE49-F238E27FC236}">
                    <a16:creationId xmlns:a16="http://schemas.microsoft.com/office/drawing/2014/main" id="{BBE85C48-D202-470B-88EC-CF796DE7EC5B}"/>
                  </a:ext>
                </a:extLst>
              </p:cNvPr>
              <p:cNvSpPr>
                <a:spLocks/>
              </p:cNvSpPr>
              <p:nvPr/>
            </p:nvSpPr>
            <p:spPr bwMode="auto">
              <a:xfrm>
                <a:off x="5916589" y="4244467"/>
                <a:ext cx="37571" cy="32724"/>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0" name="Freeform 120">
                <a:extLst>
                  <a:ext uri="{FF2B5EF4-FFF2-40B4-BE49-F238E27FC236}">
                    <a16:creationId xmlns:a16="http://schemas.microsoft.com/office/drawing/2014/main" id="{AE92C2F4-AEDF-4181-97E7-CD4943A03373}"/>
                  </a:ext>
                </a:extLst>
              </p:cNvPr>
              <p:cNvSpPr>
                <a:spLocks/>
              </p:cNvSpPr>
              <p:nvPr/>
            </p:nvSpPr>
            <p:spPr bwMode="auto">
              <a:xfrm>
                <a:off x="5895985" y="4211743"/>
                <a:ext cx="13332" cy="13331"/>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1" name="Freeform 121">
                <a:extLst>
                  <a:ext uri="{FF2B5EF4-FFF2-40B4-BE49-F238E27FC236}">
                    <a16:creationId xmlns:a16="http://schemas.microsoft.com/office/drawing/2014/main" id="{1E5CDEA8-DF21-4BD1-B8E5-2F5E2BAD6B44}"/>
                  </a:ext>
                </a:extLst>
              </p:cNvPr>
              <p:cNvSpPr>
                <a:spLocks/>
              </p:cNvSpPr>
              <p:nvPr/>
            </p:nvSpPr>
            <p:spPr bwMode="auto">
              <a:xfrm>
                <a:off x="5859626" y="4289309"/>
                <a:ext cx="12120" cy="8484"/>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2" name="Freeform 122">
                <a:extLst>
                  <a:ext uri="{FF2B5EF4-FFF2-40B4-BE49-F238E27FC236}">
                    <a16:creationId xmlns:a16="http://schemas.microsoft.com/office/drawing/2014/main" id="{C660F95C-FB5F-48E7-84C5-E471340D1B97}"/>
                  </a:ext>
                </a:extLst>
              </p:cNvPr>
              <p:cNvSpPr>
                <a:spLocks/>
              </p:cNvSpPr>
              <p:nvPr/>
            </p:nvSpPr>
            <p:spPr bwMode="auto">
              <a:xfrm>
                <a:off x="6276549" y="4319608"/>
                <a:ext cx="42419" cy="44843"/>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3" name="Freeform 123">
                <a:extLst>
                  <a:ext uri="{FF2B5EF4-FFF2-40B4-BE49-F238E27FC236}">
                    <a16:creationId xmlns:a16="http://schemas.microsoft.com/office/drawing/2014/main" id="{018628B4-AE5D-42AB-BB14-3DB7B2116888}"/>
                  </a:ext>
                </a:extLst>
              </p:cNvPr>
              <p:cNvSpPr>
                <a:spLocks/>
              </p:cNvSpPr>
              <p:nvPr/>
            </p:nvSpPr>
            <p:spPr bwMode="auto">
              <a:xfrm>
                <a:off x="6283821" y="4349907"/>
                <a:ext cx="43631" cy="52114"/>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4" name="Freeform 124">
                <a:extLst>
                  <a:ext uri="{FF2B5EF4-FFF2-40B4-BE49-F238E27FC236}">
                    <a16:creationId xmlns:a16="http://schemas.microsoft.com/office/drawing/2014/main" id="{D16179F9-BD88-4D26-89B7-171F789E6EBA}"/>
                  </a:ext>
                </a:extLst>
              </p:cNvPr>
              <p:cNvSpPr>
                <a:spLocks/>
              </p:cNvSpPr>
              <p:nvPr/>
            </p:nvSpPr>
            <p:spPr bwMode="auto">
              <a:xfrm>
                <a:off x="5639043" y="3942687"/>
                <a:ext cx="150287" cy="1393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5" name="Freeform 125">
                <a:extLst>
                  <a:ext uri="{FF2B5EF4-FFF2-40B4-BE49-F238E27FC236}">
                    <a16:creationId xmlns:a16="http://schemas.microsoft.com/office/drawing/2014/main" id="{75468367-806E-4167-A6B0-1C9D8280DE8E}"/>
                  </a:ext>
                </a:extLst>
              </p:cNvPr>
              <p:cNvSpPr>
                <a:spLocks/>
              </p:cNvSpPr>
              <p:nvPr/>
            </p:nvSpPr>
            <p:spPr bwMode="auto">
              <a:xfrm>
                <a:off x="5756606" y="4006921"/>
                <a:ext cx="65447" cy="145436"/>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6" name="Freeform 126">
                <a:extLst>
                  <a:ext uri="{FF2B5EF4-FFF2-40B4-BE49-F238E27FC236}">
                    <a16:creationId xmlns:a16="http://schemas.microsoft.com/office/drawing/2014/main" id="{651267E1-798E-4531-AF4B-AEBAB911E6C8}"/>
                  </a:ext>
                </a:extLst>
              </p:cNvPr>
              <p:cNvSpPr>
                <a:spLocks/>
              </p:cNvSpPr>
              <p:nvPr/>
            </p:nvSpPr>
            <p:spPr bwMode="auto">
              <a:xfrm>
                <a:off x="5583292" y="4044492"/>
                <a:ext cx="118775" cy="152707"/>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7" name="Freeform 127">
                <a:extLst>
                  <a:ext uri="{FF2B5EF4-FFF2-40B4-BE49-F238E27FC236}">
                    <a16:creationId xmlns:a16="http://schemas.microsoft.com/office/drawing/2014/main" id="{37C60084-56FD-4D58-8F20-7095EEC24EA6}"/>
                  </a:ext>
                </a:extLst>
              </p:cNvPr>
              <p:cNvSpPr>
                <a:spLocks/>
              </p:cNvSpPr>
              <p:nvPr/>
            </p:nvSpPr>
            <p:spPr bwMode="auto">
              <a:xfrm>
                <a:off x="5681463" y="4039644"/>
                <a:ext cx="87263" cy="152707"/>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8" name="Freeform 128">
                <a:extLst>
                  <a:ext uri="{FF2B5EF4-FFF2-40B4-BE49-F238E27FC236}">
                    <a16:creationId xmlns:a16="http://schemas.microsoft.com/office/drawing/2014/main" id="{29404F1E-08F1-4B01-A691-A0BBCE17A881}"/>
                  </a:ext>
                </a:extLst>
              </p:cNvPr>
              <p:cNvSpPr>
                <a:spLocks/>
              </p:cNvSpPr>
              <p:nvPr/>
            </p:nvSpPr>
            <p:spPr bwMode="auto">
              <a:xfrm>
                <a:off x="5742063" y="4039644"/>
                <a:ext cx="36359" cy="117561"/>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9" name="Freeform 129">
                <a:extLst>
                  <a:ext uri="{FF2B5EF4-FFF2-40B4-BE49-F238E27FC236}">
                    <a16:creationId xmlns:a16="http://schemas.microsoft.com/office/drawing/2014/main" id="{09702F43-D3F3-498B-B4F0-011728764AF2}"/>
                  </a:ext>
                </a:extLst>
              </p:cNvPr>
              <p:cNvSpPr>
                <a:spLocks/>
              </p:cNvSpPr>
              <p:nvPr/>
            </p:nvSpPr>
            <p:spPr bwMode="auto">
              <a:xfrm>
                <a:off x="5498453" y="3444569"/>
                <a:ext cx="230278" cy="204822"/>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0" name="Freeform 130">
                <a:extLst>
                  <a:ext uri="{FF2B5EF4-FFF2-40B4-BE49-F238E27FC236}">
                    <a16:creationId xmlns:a16="http://schemas.microsoft.com/office/drawing/2014/main" id="{FA39E007-7C7B-404B-9AF8-CCF53BC0F244}"/>
                  </a:ext>
                </a:extLst>
              </p:cNvPr>
              <p:cNvSpPr>
                <a:spLocks/>
              </p:cNvSpPr>
              <p:nvPr/>
            </p:nvSpPr>
            <p:spPr bwMode="auto">
              <a:xfrm>
                <a:off x="5423310" y="3649391"/>
                <a:ext cx="159982" cy="16725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1" name="Freeform 131">
                <a:extLst>
                  <a:ext uri="{FF2B5EF4-FFF2-40B4-BE49-F238E27FC236}">
                    <a16:creationId xmlns:a16="http://schemas.microsoft.com/office/drawing/2014/main" id="{192DD92F-2D36-4129-A437-717E3B9C715A}"/>
                  </a:ext>
                </a:extLst>
              </p:cNvPr>
              <p:cNvSpPr>
                <a:spLocks/>
              </p:cNvSpPr>
              <p:nvPr/>
            </p:nvSpPr>
            <p:spPr bwMode="auto">
              <a:xfrm>
                <a:off x="5443914" y="3637272"/>
                <a:ext cx="14544" cy="12120"/>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2" name="Freeform 132">
                <a:extLst>
                  <a:ext uri="{FF2B5EF4-FFF2-40B4-BE49-F238E27FC236}">
                    <a16:creationId xmlns:a16="http://schemas.microsoft.com/office/drawing/2014/main" id="{7FEB45AA-A0FA-4F08-AC95-1D4640010C50}"/>
                  </a:ext>
                </a:extLst>
              </p:cNvPr>
              <p:cNvSpPr>
                <a:spLocks/>
              </p:cNvSpPr>
              <p:nvPr/>
            </p:nvSpPr>
            <p:spPr bwMode="auto">
              <a:xfrm>
                <a:off x="5469365" y="3623939"/>
                <a:ext cx="19392" cy="18180"/>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3" name="Freeform 133">
                <a:extLst>
                  <a:ext uri="{FF2B5EF4-FFF2-40B4-BE49-F238E27FC236}">
                    <a16:creationId xmlns:a16="http://schemas.microsoft.com/office/drawing/2014/main" id="{F96BEE18-4468-4568-B8BA-46F8EFC100E1}"/>
                  </a:ext>
                </a:extLst>
              </p:cNvPr>
              <p:cNvSpPr>
                <a:spLocks/>
              </p:cNvSpPr>
              <p:nvPr/>
            </p:nvSpPr>
            <p:spPr bwMode="auto">
              <a:xfrm>
                <a:off x="5483909" y="3611819"/>
                <a:ext cx="7272" cy="12120"/>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4" name="Freeform 134">
                <a:extLst>
                  <a:ext uri="{FF2B5EF4-FFF2-40B4-BE49-F238E27FC236}">
                    <a16:creationId xmlns:a16="http://schemas.microsoft.com/office/drawing/2014/main" id="{11059F0F-2CBD-44E5-A673-612CF676AE4A}"/>
                  </a:ext>
                </a:extLst>
              </p:cNvPr>
              <p:cNvSpPr>
                <a:spLocks/>
              </p:cNvSpPr>
              <p:nvPr/>
            </p:nvSpPr>
            <p:spPr bwMode="auto">
              <a:xfrm>
                <a:off x="5423310" y="3626363"/>
                <a:ext cx="18180" cy="18180"/>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5" name="Freeform 135">
                <a:extLst>
                  <a:ext uri="{FF2B5EF4-FFF2-40B4-BE49-F238E27FC236}">
                    <a16:creationId xmlns:a16="http://schemas.microsoft.com/office/drawing/2014/main" id="{4F8FC56C-30B4-4171-8A89-CC25B519F7B0}"/>
                  </a:ext>
                </a:extLst>
              </p:cNvPr>
              <p:cNvSpPr>
                <a:spLocks/>
              </p:cNvSpPr>
              <p:nvPr/>
            </p:nvSpPr>
            <p:spPr bwMode="auto">
              <a:xfrm>
                <a:off x="5406342" y="3619092"/>
                <a:ext cx="7272" cy="13331"/>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6" name="Freeform 136">
                <a:extLst>
                  <a:ext uri="{FF2B5EF4-FFF2-40B4-BE49-F238E27FC236}">
                    <a16:creationId xmlns:a16="http://schemas.microsoft.com/office/drawing/2014/main" id="{6E7C996F-B8A6-4248-8984-200FDAA4EA2D}"/>
                  </a:ext>
                </a:extLst>
              </p:cNvPr>
              <p:cNvSpPr>
                <a:spLocks/>
              </p:cNvSpPr>
              <p:nvPr/>
            </p:nvSpPr>
            <p:spPr bwMode="auto">
              <a:xfrm>
                <a:off x="5416038" y="3637272"/>
                <a:ext cx="7272" cy="4848"/>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7" name="Freeform 137">
                <a:extLst>
                  <a:ext uri="{FF2B5EF4-FFF2-40B4-BE49-F238E27FC236}">
                    <a16:creationId xmlns:a16="http://schemas.microsoft.com/office/drawing/2014/main" id="{E0E1FB60-C7A8-48F0-AF2E-150695FD2A6A}"/>
                  </a:ext>
                </a:extLst>
              </p:cNvPr>
              <p:cNvSpPr>
                <a:spLocks/>
              </p:cNvSpPr>
              <p:nvPr/>
            </p:nvSpPr>
            <p:spPr bwMode="auto">
              <a:xfrm>
                <a:off x="5401494" y="3644543"/>
                <a:ext cx="7272" cy="7271"/>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8" name="Freeform 138">
                <a:extLst>
                  <a:ext uri="{FF2B5EF4-FFF2-40B4-BE49-F238E27FC236}">
                    <a16:creationId xmlns:a16="http://schemas.microsoft.com/office/drawing/2014/main" id="{6C657052-0467-49C7-8A67-D0F1CBD746D3}"/>
                  </a:ext>
                </a:extLst>
              </p:cNvPr>
              <p:cNvSpPr>
                <a:spLocks/>
              </p:cNvSpPr>
              <p:nvPr/>
            </p:nvSpPr>
            <p:spPr bwMode="auto">
              <a:xfrm>
                <a:off x="5531177" y="4100242"/>
                <a:ext cx="75144" cy="99381"/>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9" name="Freeform 139">
                <a:extLst>
                  <a:ext uri="{FF2B5EF4-FFF2-40B4-BE49-F238E27FC236}">
                    <a16:creationId xmlns:a16="http://schemas.microsoft.com/office/drawing/2014/main" id="{15412CF6-D171-4A01-BBBA-48ED3E136E0C}"/>
                  </a:ext>
                </a:extLst>
              </p:cNvPr>
              <p:cNvSpPr>
                <a:spLocks/>
              </p:cNvSpPr>
              <p:nvPr/>
            </p:nvSpPr>
            <p:spPr bwMode="auto">
              <a:xfrm>
                <a:off x="5496029" y="4065095"/>
                <a:ext cx="55751" cy="72718"/>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0" name="Freeform 140">
                <a:extLst>
                  <a:ext uri="{FF2B5EF4-FFF2-40B4-BE49-F238E27FC236}">
                    <a16:creationId xmlns:a16="http://schemas.microsoft.com/office/drawing/2014/main" id="{BF86B649-35BC-4505-84B4-DE9150116F24}"/>
                  </a:ext>
                </a:extLst>
              </p:cNvPr>
              <p:cNvSpPr>
                <a:spLocks/>
              </p:cNvSpPr>
              <p:nvPr/>
            </p:nvSpPr>
            <p:spPr bwMode="auto">
              <a:xfrm>
                <a:off x="5416038" y="3912387"/>
                <a:ext cx="119987" cy="101805"/>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1" name="Freeform 141">
                <a:extLst>
                  <a:ext uri="{FF2B5EF4-FFF2-40B4-BE49-F238E27FC236}">
                    <a16:creationId xmlns:a16="http://schemas.microsoft.com/office/drawing/2014/main" id="{A6E7903D-79D8-4A41-831C-3AACA2D2F8C0}"/>
                  </a:ext>
                </a:extLst>
              </p:cNvPr>
              <p:cNvSpPr>
                <a:spLocks/>
              </p:cNvSpPr>
              <p:nvPr/>
            </p:nvSpPr>
            <p:spPr bwMode="auto">
              <a:xfrm>
                <a:off x="5428157" y="3979046"/>
                <a:ext cx="60599" cy="20604"/>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2" name="Freeform 142">
                <a:extLst>
                  <a:ext uri="{FF2B5EF4-FFF2-40B4-BE49-F238E27FC236}">
                    <a16:creationId xmlns:a16="http://schemas.microsoft.com/office/drawing/2014/main" id="{380B9C7F-597D-443C-AB9E-6490D8D8BBE7}"/>
                  </a:ext>
                </a:extLst>
              </p:cNvPr>
              <p:cNvSpPr>
                <a:spLocks/>
              </p:cNvSpPr>
              <p:nvPr/>
            </p:nvSpPr>
            <p:spPr bwMode="auto">
              <a:xfrm>
                <a:off x="5463305" y="4006921"/>
                <a:ext cx="140591" cy="130892"/>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3" name="Freeform 143">
                <a:extLst>
                  <a:ext uri="{FF2B5EF4-FFF2-40B4-BE49-F238E27FC236}">
                    <a16:creationId xmlns:a16="http://schemas.microsoft.com/office/drawing/2014/main" id="{B498956D-5A2D-43AF-9CFB-00620C6585D7}"/>
                  </a:ext>
                </a:extLst>
              </p:cNvPr>
              <p:cNvSpPr>
                <a:spLocks/>
              </p:cNvSpPr>
              <p:nvPr/>
            </p:nvSpPr>
            <p:spPr bwMode="auto">
              <a:xfrm>
                <a:off x="5434218" y="4002073"/>
                <a:ext cx="56964" cy="44843"/>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4" name="Freeform 144">
                <a:extLst>
                  <a:ext uri="{FF2B5EF4-FFF2-40B4-BE49-F238E27FC236}">
                    <a16:creationId xmlns:a16="http://schemas.microsoft.com/office/drawing/2014/main" id="{5FB75F03-542B-487E-8F89-A68C0A1BD06A}"/>
                  </a:ext>
                </a:extLst>
              </p:cNvPr>
              <p:cNvSpPr>
                <a:spLocks/>
              </p:cNvSpPr>
              <p:nvPr/>
            </p:nvSpPr>
            <p:spPr bwMode="auto">
              <a:xfrm>
                <a:off x="5441490" y="4020253"/>
                <a:ext cx="2424" cy="7271"/>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5" name="Freeform 145">
                <a:extLst>
                  <a:ext uri="{FF2B5EF4-FFF2-40B4-BE49-F238E27FC236}">
                    <a16:creationId xmlns:a16="http://schemas.microsoft.com/office/drawing/2014/main" id="{833C8032-B7E2-44C6-AB92-DB1BB215D873}"/>
                  </a:ext>
                </a:extLst>
              </p:cNvPr>
              <p:cNvSpPr>
                <a:spLocks/>
              </p:cNvSpPr>
              <p:nvPr/>
            </p:nvSpPr>
            <p:spPr bwMode="auto">
              <a:xfrm>
                <a:off x="5441490" y="4027525"/>
                <a:ext cx="7272" cy="9696"/>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6" name="Freeform 146">
                <a:extLst>
                  <a:ext uri="{FF2B5EF4-FFF2-40B4-BE49-F238E27FC236}">
                    <a16:creationId xmlns:a16="http://schemas.microsoft.com/office/drawing/2014/main" id="{9933B48E-9200-4CA0-9F9E-AA63C1793F49}"/>
                  </a:ext>
                </a:extLst>
              </p:cNvPr>
              <p:cNvSpPr>
                <a:spLocks/>
              </p:cNvSpPr>
              <p:nvPr/>
            </p:nvSpPr>
            <p:spPr bwMode="auto">
              <a:xfrm>
                <a:off x="5441490" y="4039644"/>
                <a:ext cx="2424" cy="7271"/>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7" name="Freeform 147">
                <a:extLst>
                  <a:ext uri="{FF2B5EF4-FFF2-40B4-BE49-F238E27FC236}">
                    <a16:creationId xmlns:a16="http://schemas.microsoft.com/office/drawing/2014/main" id="{0BF27999-E195-4B11-958E-A8414D4B8355}"/>
                  </a:ext>
                </a:extLst>
              </p:cNvPr>
              <p:cNvSpPr>
                <a:spLocks/>
              </p:cNvSpPr>
              <p:nvPr/>
            </p:nvSpPr>
            <p:spPr bwMode="auto">
              <a:xfrm>
                <a:off x="5443914" y="4039644"/>
                <a:ext cx="4848" cy="4848"/>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8" name="Freeform 148">
                <a:extLst>
                  <a:ext uri="{FF2B5EF4-FFF2-40B4-BE49-F238E27FC236}">
                    <a16:creationId xmlns:a16="http://schemas.microsoft.com/office/drawing/2014/main" id="{5FF67F43-C8C4-491B-9766-DABFF850E5F3}"/>
                  </a:ext>
                </a:extLst>
              </p:cNvPr>
              <p:cNvSpPr>
                <a:spLocks/>
              </p:cNvSpPr>
              <p:nvPr/>
            </p:nvSpPr>
            <p:spPr bwMode="auto">
              <a:xfrm>
                <a:off x="5448761" y="4037220"/>
                <a:ext cx="2424" cy="2424"/>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9" name="Freeform 149">
                <a:extLst>
                  <a:ext uri="{FF2B5EF4-FFF2-40B4-BE49-F238E27FC236}">
                    <a16:creationId xmlns:a16="http://schemas.microsoft.com/office/drawing/2014/main" id="{D21FC164-6C5C-42D9-A591-BF6072E5E19C}"/>
                  </a:ext>
                </a:extLst>
              </p:cNvPr>
              <p:cNvSpPr>
                <a:spLocks/>
              </p:cNvSpPr>
              <p:nvPr/>
            </p:nvSpPr>
            <p:spPr bwMode="auto">
              <a:xfrm>
                <a:off x="5436642" y="4027525"/>
                <a:ext cx="4848" cy="4848"/>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0" name="Freeform 150">
                <a:extLst>
                  <a:ext uri="{FF2B5EF4-FFF2-40B4-BE49-F238E27FC236}">
                    <a16:creationId xmlns:a16="http://schemas.microsoft.com/office/drawing/2014/main" id="{031B9DD8-373E-474F-8E0F-439288DD5B29}"/>
                  </a:ext>
                </a:extLst>
              </p:cNvPr>
              <p:cNvSpPr>
                <a:spLocks/>
              </p:cNvSpPr>
              <p:nvPr/>
            </p:nvSpPr>
            <p:spPr bwMode="auto">
              <a:xfrm>
                <a:off x="5451185" y="4027525"/>
                <a:ext cx="4848" cy="4848"/>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1" name="Freeform 151">
                <a:extLst>
                  <a:ext uri="{FF2B5EF4-FFF2-40B4-BE49-F238E27FC236}">
                    <a16:creationId xmlns:a16="http://schemas.microsoft.com/office/drawing/2014/main" id="{96192C62-08CB-4311-B2B7-9E66ED81580D}"/>
                  </a:ext>
                </a:extLst>
              </p:cNvPr>
              <p:cNvSpPr>
                <a:spLocks/>
              </p:cNvSpPr>
              <p:nvPr/>
            </p:nvSpPr>
            <p:spPr bwMode="auto">
              <a:xfrm>
                <a:off x="5298475" y="3941475"/>
                <a:ext cx="12120" cy="13331"/>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2" name="Freeform 152">
                <a:extLst>
                  <a:ext uri="{FF2B5EF4-FFF2-40B4-BE49-F238E27FC236}">
                    <a16:creationId xmlns:a16="http://schemas.microsoft.com/office/drawing/2014/main" id="{1867BAA9-7148-426F-9D8F-ECD95EE0FCE3}"/>
                  </a:ext>
                </a:extLst>
              </p:cNvPr>
              <p:cNvSpPr>
                <a:spLocks/>
              </p:cNvSpPr>
              <p:nvPr/>
            </p:nvSpPr>
            <p:spPr bwMode="auto">
              <a:xfrm>
                <a:off x="5311807" y="3922084"/>
                <a:ext cx="12120" cy="7271"/>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3" name="Freeform 156">
                <a:extLst>
                  <a:ext uri="{FF2B5EF4-FFF2-40B4-BE49-F238E27FC236}">
                    <a16:creationId xmlns:a16="http://schemas.microsoft.com/office/drawing/2014/main" id="{68F4C501-2265-49B3-B717-E1F4CA2BC07E}"/>
                  </a:ext>
                </a:extLst>
              </p:cNvPr>
              <p:cNvSpPr>
                <a:spLocks/>
              </p:cNvSpPr>
              <p:nvPr/>
            </p:nvSpPr>
            <p:spPr bwMode="auto">
              <a:xfrm>
                <a:off x="5305747" y="3942687"/>
                <a:ext cx="6060" cy="4848"/>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4" name="Freeform 159">
                <a:extLst>
                  <a:ext uri="{FF2B5EF4-FFF2-40B4-BE49-F238E27FC236}">
                    <a16:creationId xmlns:a16="http://schemas.microsoft.com/office/drawing/2014/main" id="{1F21E6F6-2616-4F96-A906-1E4ABF671D0E}"/>
                  </a:ext>
                </a:extLst>
              </p:cNvPr>
              <p:cNvSpPr>
                <a:spLocks/>
              </p:cNvSpPr>
              <p:nvPr/>
            </p:nvSpPr>
            <p:spPr bwMode="auto">
              <a:xfrm>
                <a:off x="6241402" y="3111279"/>
                <a:ext cx="67872" cy="82414"/>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5" name="Freeform 160">
                <a:extLst>
                  <a:ext uri="{FF2B5EF4-FFF2-40B4-BE49-F238E27FC236}">
                    <a16:creationId xmlns:a16="http://schemas.microsoft.com/office/drawing/2014/main" id="{0F6F520A-A442-4DA4-8386-82EC9AA0292C}"/>
                  </a:ext>
                </a:extLst>
              </p:cNvPr>
              <p:cNvSpPr>
                <a:spLocks/>
              </p:cNvSpPr>
              <p:nvPr/>
            </p:nvSpPr>
            <p:spPr bwMode="auto">
              <a:xfrm>
                <a:off x="6123838" y="3118550"/>
                <a:ext cx="173314" cy="126045"/>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6" name="Freeform 161">
                <a:extLst>
                  <a:ext uri="{FF2B5EF4-FFF2-40B4-BE49-F238E27FC236}">
                    <a16:creationId xmlns:a16="http://schemas.microsoft.com/office/drawing/2014/main" id="{AEB6B742-3451-4477-AA8F-43DCE6F2D411}"/>
                  </a:ext>
                </a:extLst>
              </p:cNvPr>
              <p:cNvSpPr>
                <a:spLocks/>
              </p:cNvSpPr>
              <p:nvPr/>
            </p:nvSpPr>
            <p:spPr bwMode="auto">
              <a:xfrm>
                <a:off x="6229281" y="3282165"/>
                <a:ext cx="58175" cy="59386"/>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7" name="Freeform 162">
                <a:extLst>
                  <a:ext uri="{FF2B5EF4-FFF2-40B4-BE49-F238E27FC236}">
                    <a16:creationId xmlns:a16="http://schemas.microsoft.com/office/drawing/2014/main" id="{7049BABC-4BBE-4470-B382-4F9340D6E188}"/>
                  </a:ext>
                </a:extLst>
              </p:cNvPr>
              <p:cNvSpPr>
                <a:spLocks/>
              </p:cNvSpPr>
              <p:nvPr/>
            </p:nvSpPr>
            <p:spPr bwMode="auto">
              <a:xfrm>
                <a:off x="6179590" y="2786471"/>
                <a:ext cx="94535" cy="67871"/>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8" name="Freeform 163">
                <a:extLst>
                  <a:ext uri="{FF2B5EF4-FFF2-40B4-BE49-F238E27FC236}">
                    <a16:creationId xmlns:a16="http://schemas.microsoft.com/office/drawing/2014/main" id="{5349F75F-D6E6-424B-B65F-78A34F06A3BF}"/>
                  </a:ext>
                </a:extLst>
              </p:cNvPr>
              <p:cNvSpPr>
                <a:spLocks/>
              </p:cNvSpPr>
              <p:nvPr/>
            </p:nvSpPr>
            <p:spPr bwMode="auto">
              <a:xfrm>
                <a:off x="6132323" y="2831314"/>
                <a:ext cx="141802" cy="75141"/>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9" name="Freeform 164">
                <a:extLst>
                  <a:ext uri="{FF2B5EF4-FFF2-40B4-BE49-F238E27FC236}">
                    <a16:creationId xmlns:a16="http://schemas.microsoft.com/office/drawing/2014/main" id="{6CEF53C3-2355-483A-921A-B7AFF496F310}"/>
                  </a:ext>
                </a:extLst>
              </p:cNvPr>
              <p:cNvSpPr>
                <a:spLocks/>
              </p:cNvSpPr>
              <p:nvPr/>
            </p:nvSpPr>
            <p:spPr bwMode="auto">
              <a:xfrm>
                <a:off x="6132323" y="2883428"/>
                <a:ext cx="111503" cy="82414"/>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0" name="Freeform 165">
                <a:extLst>
                  <a:ext uri="{FF2B5EF4-FFF2-40B4-BE49-F238E27FC236}">
                    <a16:creationId xmlns:a16="http://schemas.microsoft.com/office/drawing/2014/main" id="{3A623BE0-413D-48CD-AC3D-8E02EAB1BABB}"/>
                  </a:ext>
                </a:extLst>
              </p:cNvPr>
              <p:cNvSpPr>
                <a:spLocks/>
              </p:cNvSpPr>
              <p:nvPr/>
            </p:nvSpPr>
            <p:spPr bwMode="auto">
              <a:xfrm>
                <a:off x="6168683" y="2890701"/>
                <a:ext cx="190282" cy="147860"/>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1" name="Freeform 166">
                <a:extLst>
                  <a:ext uri="{FF2B5EF4-FFF2-40B4-BE49-F238E27FC236}">
                    <a16:creationId xmlns:a16="http://schemas.microsoft.com/office/drawing/2014/main" id="{FB9232FA-07E7-4FD4-A797-78123E4687E7}"/>
                  </a:ext>
                </a:extLst>
              </p:cNvPr>
              <p:cNvSpPr>
                <a:spLocks/>
              </p:cNvSpPr>
              <p:nvPr/>
            </p:nvSpPr>
            <p:spPr bwMode="auto">
              <a:xfrm>
                <a:off x="6001428" y="2931908"/>
                <a:ext cx="199978" cy="16725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2" name="Freeform 167">
                <a:extLst>
                  <a:ext uri="{FF2B5EF4-FFF2-40B4-BE49-F238E27FC236}">
                    <a16:creationId xmlns:a16="http://schemas.microsoft.com/office/drawing/2014/main" id="{3D372E50-3369-4A69-B588-444370F95C34}"/>
                  </a:ext>
                </a:extLst>
              </p:cNvPr>
              <p:cNvSpPr>
                <a:spLocks/>
              </p:cNvSpPr>
              <p:nvPr/>
            </p:nvSpPr>
            <p:spPr bwMode="auto">
              <a:xfrm>
                <a:off x="5648740" y="3040984"/>
                <a:ext cx="250882" cy="237545"/>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13" name="Freeform 168">
                <a:extLst>
                  <a:ext uri="{FF2B5EF4-FFF2-40B4-BE49-F238E27FC236}">
                    <a16:creationId xmlns:a16="http://schemas.microsoft.com/office/drawing/2014/main" id="{0F5CB426-48DE-43CD-9549-5FDB6C08C121}"/>
                  </a:ext>
                </a:extLst>
              </p:cNvPr>
              <p:cNvSpPr>
                <a:spLocks/>
              </p:cNvSpPr>
              <p:nvPr/>
            </p:nvSpPr>
            <p:spPr bwMode="auto">
              <a:xfrm>
                <a:off x="5559053" y="3282165"/>
                <a:ext cx="75144" cy="1393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4" name="Freeform 169">
                <a:extLst>
                  <a:ext uri="{FF2B5EF4-FFF2-40B4-BE49-F238E27FC236}">
                    <a16:creationId xmlns:a16="http://schemas.microsoft.com/office/drawing/2014/main" id="{21561D33-8160-4405-BCEE-3CEB7EC51831}"/>
                  </a:ext>
                </a:extLst>
              </p:cNvPr>
              <p:cNvSpPr>
                <a:spLocks/>
              </p:cNvSpPr>
              <p:nvPr/>
            </p:nvSpPr>
            <p:spPr bwMode="auto">
              <a:xfrm>
                <a:off x="5902045" y="3261562"/>
                <a:ext cx="19392" cy="42419"/>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5" name="Freeform 170">
                <a:extLst>
                  <a:ext uri="{FF2B5EF4-FFF2-40B4-BE49-F238E27FC236}">
                    <a16:creationId xmlns:a16="http://schemas.microsoft.com/office/drawing/2014/main" id="{24E45219-4472-44CB-8CA4-65C8A7EDFFA3}"/>
                  </a:ext>
                </a:extLst>
              </p:cNvPr>
              <p:cNvSpPr>
                <a:spLocks noEditPoints="1"/>
              </p:cNvSpPr>
              <p:nvPr/>
            </p:nvSpPr>
            <p:spPr bwMode="auto">
              <a:xfrm>
                <a:off x="5859626" y="3151273"/>
                <a:ext cx="231490" cy="277540"/>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6" name="Freeform 171">
                <a:extLst>
                  <a:ext uri="{FF2B5EF4-FFF2-40B4-BE49-F238E27FC236}">
                    <a16:creationId xmlns:a16="http://schemas.microsoft.com/office/drawing/2014/main" id="{5B461200-572C-478F-A515-A4CC644E2A4A}"/>
                  </a:ext>
                </a:extLst>
              </p:cNvPr>
              <p:cNvSpPr>
                <a:spLocks/>
              </p:cNvSpPr>
              <p:nvPr/>
            </p:nvSpPr>
            <p:spPr bwMode="auto">
              <a:xfrm>
                <a:off x="5851141" y="3127034"/>
                <a:ext cx="88475" cy="59386"/>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7" name="Freeform 172">
                <a:extLst>
                  <a:ext uri="{FF2B5EF4-FFF2-40B4-BE49-F238E27FC236}">
                    <a16:creationId xmlns:a16="http://schemas.microsoft.com/office/drawing/2014/main" id="{4C751791-45A0-41D6-A87F-3F6E911DD637}"/>
                  </a:ext>
                </a:extLst>
              </p:cNvPr>
              <p:cNvSpPr>
                <a:spLocks/>
              </p:cNvSpPr>
              <p:nvPr/>
            </p:nvSpPr>
            <p:spPr bwMode="auto">
              <a:xfrm>
                <a:off x="5914164" y="3091887"/>
                <a:ext cx="150287" cy="79989"/>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8" name="Freeform 173">
                <a:extLst>
                  <a:ext uri="{FF2B5EF4-FFF2-40B4-BE49-F238E27FC236}">
                    <a16:creationId xmlns:a16="http://schemas.microsoft.com/office/drawing/2014/main" id="{344A2D36-30B6-470A-9BCE-7C374B913C4C}"/>
                  </a:ext>
                </a:extLst>
              </p:cNvPr>
              <p:cNvSpPr>
                <a:spLocks/>
              </p:cNvSpPr>
              <p:nvPr/>
            </p:nvSpPr>
            <p:spPr bwMode="auto">
              <a:xfrm>
                <a:off x="5968704" y="3038560"/>
                <a:ext cx="123623" cy="72718"/>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9" name="Freeform 174">
                <a:extLst>
                  <a:ext uri="{FF2B5EF4-FFF2-40B4-BE49-F238E27FC236}">
                    <a16:creationId xmlns:a16="http://schemas.microsoft.com/office/drawing/2014/main" id="{018513AD-3182-40B1-B2AF-BEAA6ED67FCC}"/>
                  </a:ext>
                </a:extLst>
              </p:cNvPr>
              <p:cNvSpPr>
                <a:spLocks/>
              </p:cNvSpPr>
              <p:nvPr/>
            </p:nvSpPr>
            <p:spPr bwMode="auto">
              <a:xfrm>
                <a:off x="6158986" y="3226415"/>
                <a:ext cx="117563" cy="84838"/>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0" name="Freeform 175">
                <a:extLst>
                  <a:ext uri="{FF2B5EF4-FFF2-40B4-BE49-F238E27FC236}">
                    <a16:creationId xmlns:a16="http://schemas.microsoft.com/office/drawing/2014/main" id="{A6F600F0-6EA0-4F08-862F-B604B73B0C60}"/>
                  </a:ext>
                </a:extLst>
              </p:cNvPr>
              <p:cNvSpPr>
                <a:spLocks/>
              </p:cNvSpPr>
              <p:nvPr/>
            </p:nvSpPr>
            <p:spPr bwMode="auto">
              <a:xfrm>
                <a:off x="6092328" y="3176724"/>
                <a:ext cx="82415" cy="112713"/>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1" name="Freeform 176">
                <a:extLst>
                  <a:ext uri="{FF2B5EF4-FFF2-40B4-BE49-F238E27FC236}">
                    <a16:creationId xmlns:a16="http://schemas.microsoft.com/office/drawing/2014/main" id="{E7287D52-4BBC-4F56-B8D7-98B5481F732C}"/>
                  </a:ext>
                </a:extLst>
              </p:cNvPr>
              <p:cNvSpPr>
                <a:spLocks/>
              </p:cNvSpPr>
              <p:nvPr/>
            </p:nvSpPr>
            <p:spPr bwMode="auto">
              <a:xfrm>
                <a:off x="6123838" y="3276106"/>
                <a:ext cx="48479" cy="42419"/>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2" name="Freeform 177">
                <a:extLst>
                  <a:ext uri="{FF2B5EF4-FFF2-40B4-BE49-F238E27FC236}">
                    <a16:creationId xmlns:a16="http://schemas.microsoft.com/office/drawing/2014/main" id="{44750810-BA55-41C6-9849-42ADADA2FA5A}"/>
                  </a:ext>
                </a:extLst>
              </p:cNvPr>
              <p:cNvSpPr>
                <a:spLocks/>
              </p:cNvSpPr>
              <p:nvPr/>
            </p:nvSpPr>
            <p:spPr bwMode="auto">
              <a:xfrm>
                <a:off x="6102023" y="3263986"/>
                <a:ext cx="32724" cy="84838"/>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3" name="Freeform 178">
                <a:extLst>
                  <a:ext uri="{FF2B5EF4-FFF2-40B4-BE49-F238E27FC236}">
                    <a16:creationId xmlns:a16="http://schemas.microsoft.com/office/drawing/2014/main" id="{61BDE11A-F37C-4BDB-BE44-BED0BE845995}"/>
                  </a:ext>
                </a:extLst>
              </p:cNvPr>
              <p:cNvSpPr>
                <a:spLocks/>
              </p:cNvSpPr>
              <p:nvPr/>
            </p:nvSpPr>
            <p:spPr bwMode="auto">
              <a:xfrm>
                <a:off x="6043847" y="3106431"/>
                <a:ext cx="124835" cy="79989"/>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4" name="Freeform 179">
                <a:extLst>
                  <a:ext uri="{FF2B5EF4-FFF2-40B4-BE49-F238E27FC236}">
                    <a16:creationId xmlns:a16="http://schemas.microsoft.com/office/drawing/2014/main" id="{D700765E-7206-435B-A750-1C43F3BE64C0}"/>
                  </a:ext>
                </a:extLst>
              </p:cNvPr>
              <p:cNvSpPr>
                <a:spLocks/>
              </p:cNvSpPr>
              <p:nvPr/>
            </p:nvSpPr>
            <p:spPr bwMode="auto">
              <a:xfrm>
                <a:off x="6054755" y="3076131"/>
                <a:ext cx="111503" cy="5817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5" name="Freeform 180">
                <a:extLst>
                  <a:ext uri="{FF2B5EF4-FFF2-40B4-BE49-F238E27FC236}">
                    <a16:creationId xmlns:a16="http://schemas.microsoft.com/office/drawing/2014/main" id="{4FE441C5-03FC-4FD7-9E86-FF78F7A916F3}"/>
                  </a:ext>
                </a:extLst>
              </p:cNvPr>
              <p:cNvSpPr>
                <a:spLocks/>
              </p:cNvSpPr>
              <p:nvPr/>
            </p:nvSpPr>
            <p:spPr bwMode="auto">
              <a:xfrm>
                <a:off x="5994156" y="3153697"/>
                <a:ext cx="56964" cy="44843"/>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6" name="Freeform 181">
                <a:extLst>
                  <a:ext uri="{FF2B5EF4-FFF2-40B4-BE49-F238E27FC236}">
                    <a16:creationId xmlns:a16="http://schemas.microsoft.com/office/drawing/2014/main" id="{1F9A28E7-B702-47F7-BBFC-762D16621CA2}"/>
                  </a:ext>
                </a:extLst>
              </p:cNvPr>
              <p:cNvSpPr>
                <a:spLocks/>
              </p:cNvSpPr>
              <p:nvPr/>
            </p:nvSpPr>
            <p:spPr bwMode="auto">
              <a:xfrm>
                <a:off x="5994156" y="3164604"/>
                <a:ext cx="115139" cy="11392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7" name="Freeform 182">
                <a:extLst>
                  <a:ext uri="{FF2B5EF4-FFF2-40B4-BE49-F238E27FC236}">
                    <a16:creationId xmlns:a16="http://schemas.microsoft.com/office/drawing/2014/main" id="{5D5B4B36-8703-4964-B6B1-D4D89F492F93}"/>
                  </a:ext>
                </a:extLst>
              </p:cNvPr>
              <p:cNvSpPr>
                <a:spLocks/>
              </p:cNvSpPr>
              <p:nvPr/>
            </p:nvSpPr>
            <p:spPr bwMode="auto">
              <a:xfrm>
                <a:off x="6031727" y="3193691"/>
                <a:ext cx="79991" cy="77566"/>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8" name="Freeform 183">
                <a:extLst>
                  <a:ext uri="{FF2B5EF4-FFF2-40B4-BE49-F238E27FC236}">
                    <a16:creationId xmlns:a16="http://schemas.microsoft.com/office/drawing/2014/main" id="{5C6C3101-E841-4D2F-8E8D-BEE3BD77C784}"/>
                  </a:ext>
                </a:extLst>
              </p:cNvPr>
              <p:cNvSpPr>
                <a:spLocks/>
              </p:cNvSpPr>
              <p:nvPr/>
            </p:nvSpPr>
            <p:spPr bwMode="auto">
              <a:xfrm>
                <a:off x="6083843" y="3242171"/>
                <a:ext cx="39996" cy="47267"/>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9" name="Freeform 184">
                <a:extLst>
                  <a:ext uri="{FF2B5EF4-FFF2-40B4-BE49-F238E27FC236}">
                    <a16:creationId xmlns:a16="http://schemas.microsoft.com/office/drawing/2014/main" id="{E2700668-07F5-4448-B40D-03809C838CAA}"/>
                  </a:ext>
                </a:extLst>
              </p:cNvPr>
              <p:cNvSpPr>
                <a:spLocks noEditPoints="1"/>
              </p:cNvSpPr>
              <p:nvPr/>
            </p:nvSpPr>
            <p:spPr bwMode="auto">
              <a:xfrm>
                <a:off x="5893562" y="2843433"/>
                <a:ext cx="135742" cy="98169"/>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0" name="Freeform 185">
                <a:extLst>
                  <a:ext uri="{FF2B5EF4-FFF2-40B4-BE49-F238E27FC236}">
                    <a16:creationId xmlns:a16="http://schemas.microsoft.com/office/drawing/2014/main" id="{55B19B12-DF55-41B5-9E3B-A886FBC6C3B3}"/>
                  </a:ext>
                </a:extLst>
              </p:cNvPr>
              <p:cNvSpPr>
                <a:spLocks noEditPoints="1"/>
              </p:cNvSpPr>
              <p:nvPr/>
            </p:nvSpPr>
            <p:spPr bwMode="auto">
              <a:xfrm>
                <a:off x="5851141" y="2928271"/>
                <a:ext cx="173314" cy="215730"/>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31" name="Freeform 186">
                <a:extLst>
                  <a:ext uri="{FF2B5EF4-FFF2-40B4-BE49-F238E27FC236}">
                    <a16:creationId xmlns:a16="http://schemas.microsoft.com/office/drawing/2014/main" id="{3629F7B6-4732-43DF-A27A-7FA8B18B04F8}"/>
                  </a:ext>
                </a:extLst>
              </p:cNvPr>
              <p:cNvSpPr>
                <a:spLocks/>
              </p:cNvSpPr>
              <p:nvPr/>
            </p:nvSpPr>
            <p:spPr bwMode="auto">
              <a:xfrm>
                <a:off x="5808721" y="2971902"/>
                <a:ext cx="70295" cy="75141"/>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2" name="Freeform 187">
                <a:extLst>
                  <a:ext uri="{FF2B5EF4-FFF2-40B4-BE49-F238E27FC236}">
                    <a16:creationId xmlns:a16="http://schemas.microsoft.com/office/drawing/2014/main" id="{35A85B83-605F-4CE1-B8CB-B3E81883DE2A}"/>
                  </a:ext>
                </a:extLst>
              </p:cNvPr>
              <p:cNvSpPr>
                <a:spLocks/>
              </p:cNvSpPr>
              <p:nvPr/>
            </p:nvSpPr>
            <p:spPr bwMode="auto">
              <a:xfrm>
                <a:off x="5789330" y="3026441"/>
                <a:ext cx="79991" cy="59386"/>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3" name="Freeform 188">
                <a:extLst>
                  <a:ext uri="{FF2B5EF4-FFF2-40B4-BE49-F238E27FC236}">
                    <a16:creationId xmlns:a16="http://schemas.microsoft.com/office/drawing/2014/main" id="{499E4B01-826C-4D93-A3B4-2847497F56F7}"/>
                  </a:ext>
                </a:extLst>
              </p:cNvPr>
              <p:cNvSpPr>
                <a:spLocks/>
              </p:cNvSpPr>
              <p:nvPr/>
            </p:nvSpPr>
            <p:spPr bwMode="auto">
              <a:xfrm>
                <a:off x="5846294" y="3061588"/>
                <a:ext cx="23028" cy="24239"/>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4" name="Freeform 189">
                <a:extLst>
                  <a:ext uri="{FF2B5EF4-FFF2-40B4-BE49-F238E27FC236}">
                    <a16:creationId xmlns:a16="http://schemas.microsoft.com/office/drawing/2014/main" id="{BBCD883E-F7A4-4F84-A842-0C6666DA1902}"/>
                  </a:ext>
                </a:extLst>
              </p:cNvPr>
              <p:cNvSpPr>
                <a:spLocks/>
              </p:cNvSpPr>
              <p:nvPr/>
            </p:nvSpPr>
            <p:spPr bwMode="auto">
              <a:xfrm>
                <a:off x="6146867" y="2816770"/>
                <a:ext cx="32724" cy="21815"/>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5" name="Freeform 190">
                <a:extLst>
                  <a:ext uri="{FF2B5EF4-FFF2-40B4-BE49-F238E27FC236}">
                    <a16:creationId xmlns:a16="http://schemas.microsoft.com/office/drawing/2014/main" id="{8767995E-7A41-4C5A-8958-D399F9182CA7}"/>
                  </a:ext>
                </a:extLst>
              </p:cNvPr>
              <p:cNvSpPr>
                <a:spLocks/>
              </p:cNvSpPr>
              <p:nvPr/>
            </p:nvSpPr>
            <p:spPr bwMode="auto">
              <a:xfrm>
                <a:off x="6154139" y="2803439"/>
                <a:ext cx="20604" cy="13331"/>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6" name="Freeform 191">
                <a:extLst>
                  <a:ext uri="{FF2B5EF4-FFF2-40B4-BE49-F238E27FC236}">
                    <a16:creationId xmlns:a16="http://schemas.microsoft.com/office/drawing/2014/main" id="{97A77509-C914-4F23-8166-ABC8322DCA4F}"/>
                  </a:ext>
                </a:extLst>
              </p:cNvPr>
              <p:cNvSpPr>
                <a:spLocks/>
              </p:cNvSpPr>
              <p:nvPr/>
            </p:nvSpPr>
            <p:spPr bwMode="auto">
              <a:xfrm>
                <a:off x="6172318" y="2814346"/>
                <a:ext cx="7272" cy="9696"/>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7" name="Freeform 192">
                <a:extLst>
                  <a:ext uri="{FF2B5EF4-FFF2-40B4-BE49-F238E27FC236}">
                    <a16:creationId xmlns:a16="http://schemas.microsoft.com/office/drawing/2014/main" id="{0BC0841C-5BF6-4756-B9E0-76FE3BF766F8}"/>
                  </a:ext>
                </a:extLst>
              </p:cNvPr>
              <p:cNvSpPr>
                <a:spLocks/>
              </p:cNvSpPr>
              <p:nvPr/>
            </p:nvSpPr>
            <p:spPr bwMode="auto">
              <a:xfrm>
                <a:off x="6172318" y="2808286"/>
                <a:ext cx="7272" cy="2424"/>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8" name="Freeform 193">
                <a:extLst>
                  <a:ext uri="{FF2B5EF4-FFF2-40B4-BE49-F238E27FC236}">
                    <a16:creationId xmlns:a16="http://schemas.microsoft.com/office/drawing/2014/main" id="{8F95B26D-D6F3-48FE-8ED5-83B0018CA355}"/>
                  </a:ext>
                </a:extLst>
              </p:cNvPr>
              <p:cNvSpPr>
                <a:spLocks noEditPoints="1"/>
              </p:cNvSpPr>
              <p:nvPr/>
            </p:nvSpPr>
            <p:spPr bwMode="auto">
              <a:xfrm>
                <a:off x="5949312" y="2485903"/>
                <a:ext cx="244822" cy="435096"/>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9" name="Freeform 194">
                <a:extLst>
                  <a:ext uri="{FF2B5EF4-FFF2-40B4-BE49-F238E27FC236}">
                    <a16:creationId xmlns:a16="http://schemas.microsoft.com/office/drawing/2014/main" id="{9F2DA31D-8636-4B11-A012-09CEBA519C15}"/>
                  </a:ext>
                </a:extLst>
              </p:cNvPr>
              <p:cNvSpPr>
                <a:spLocks/>
              </p:cNvSpPr>
              <p:nvPr/>
            </p:nvSpPr>
            <p:spPr bwMode="auto">
              <a:xfrm>
                <a:off x="6584395" y="3284589"/>
                <a:ext cx="98171" cy="99381"/>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0" name="Freeform 195">
                <a:extLst>
                  <a:ext uri="{FF2B5EF4-FFF2-40B4-BE49-F238E27FC236}">
                    <a16:creationId xmlns:a16="http://schemas.microsoft.com/office/drawing/2014/main" id="{D65AA5DA-D648-4A1A-BDB1-58ACC1ACCD23}"/>
                  </a:ext>
                </a:extLst>
              </p:cNvPr>
              <p:cNvSpPr>
                <a:spLocks/>
              </p:cNvSpPr>
              <p:nvPr/>
            </p:nvSpPr>
            <p:spPr bwMode="auto">
              <a:xfrm>
                <a:off x="6577122" y="3343976"/>
                <a:ext cx="27876" cy="25451"/>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1" name="Freeform 196">
                <a:extLst>
                  <a:ext uri="{FF2B5EF4-FFF2-40B4-BE49-F238E27FC236}">
                    <a16:creationId xmlns:a16="http://schemas.microsoft.com/office/drawing/2014/main" id="{BFC7DFD5-DE36-4AD9-9191-D57FB825B28C}"/>
                  </a:ext>
                </a:extLst>
              </p:cNvPr>
              <p:cNvSpPr>
                <a:spLocks/>
              </p:cNvSpPr>
              <p:nvPr/>
            </p:nvSpPr>
            <p:spPr bwMode="auto">
              <a:xfrm>
                <a:off x="6551670" y="3303980"/>
                <a:ext cx="60599" cy="65446"/>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2" name="Freeform 197">
                <a:extLst>
                  <a:ext uri="{FF2B5EF4-FFF2-40B4-BE49-F238E27FC236}">
                    <a16:creationId xmlns:a16="http://schemas.microsoft.com/office/drawing/2014/main" id="{37E0D2A4-7367-4A48-8F12-643624236626}"/>
                  </a:ext>
                </a:extLst>
              </p:cNvPr>
              <p:cNvSpPr>
                <a:spLocks/>
              </p:cNvSpPr>
              <p:nvPr/>
            </p:nvSpPr>
            <p:spPr bwMode="auto">
              <a:xfrm>
                <a:off x="6485012" y="3244594"/>
                <a:ext cx="132107" cy="69082"/>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3" name="Freeform 198">
                <a:extLst>
                  <a:ext uri="{FF2B5EF4-FFF2-40B4-BE49-F238E27FC236}">
                    <a16:creationId xmlns:a16="http://schemas.microsoft.com/office/drawing/2014/main" id="{01FC588F-E116-410F-B888-74C5194C9B1B}"/>
                  </a:ext>
                </a:extLst>
              </p:cNvPr>
              <p:cNvSpPr>
                <a:spLocks/>
              </p:cNvSpPr>
              <p:nvPr/>
            </p:nvSpPr>
            <p:spPr bwMode="auto">
              <a:xfrm>
                <a:off x="6600150" y="2906456"/>
                <a:ext cx="772037" cy="420552"/>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4" name="Freeform 199">
                <a:extLst>
                  <a:ext uri="{FF2B5EF4-FFF2-40B4-BE49-F238E27FC236}">
                    <a16:creationId xmlns:a16="http://schemas.microsoft.com/office/drawing/2014/main" id="{C4EF6610-F240-4AD8-952E-A9196E82718B}"/>
                  </a:ext>
                </a:extLst>
              </p:cNvPr>
              <p:cNvSpPr>
                <a:spLocks noEditPoints="1"/>
              </p:cNvSpPr>
              <p:nvPr/>
            </p:nvSpPr>
            <p:spPr bwMode="auto">
              <a:xfrm>
                <a:off x="6109295" y="2448333"/>
                <a:ext cx="225430" cy="338139"/>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5" name="Freeform 200">
                <a:extLst>
                  <a:ext uri="{FF2B5EF4-FFF2-40B4-BE49-F238E27FC236}">
                    <a16:creationId xmlns:a16="http://schemas.microsoft.com/office/drawing/2014/main" id="{CC386A58-D35A-4E05-ADD4-2BE41662A63F}"/>
                  </a:ext>
                </a:extLst>
              </p:cNvPr>
              <p:cNvSpPr>
                <a:spLocks noEditPoints="1"/>
              </p:cNvSpPr>
              <p:nvPr/>
            </p:nvSpPr>
            <p:spPr bwMode="auto">
              <a:xfrm>
                <a:off x="5829325" y="2058080"/>
                <a:ext cx="498127" cy="780506"/>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6" name="Freeform 201">
                <a:extLst>
                  <a:ext uri="{FF2B5EF4-FFF2-40B4-BE49-F238E27FC236}">
                    <a16:creationId xmlns:a16="http://schemas.microsoft.com/office/drawing/2014/main" id="{14E6A639-8087-4FA6-A034-10E21B941489}"/>
                  </a:ext>
                </a:extLst>
              </p:cNvPr>
              <p:cNvSpPr>
                <a:spLocks noEditPoints="1"/>
              </p:cNvSpPr>
              <p:nvPr/>
            </p:nvSpPr>
            <p:spPr bwMode="auto">
              <a:xfrm>
                <a:off x="5584504" y="2751324"/>
                <a:ext cx="193918" cy="317535"/>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47" name="Freeform 202">
                <a:extLst>
                  <a:ext uri="{FF2B5EF4-FFF2-40B4-BE49-F238E27FC236}">
                    <a16:creationId xmlns:a16="http://schemas.microsoft.com/office/drawing/2014/main" id="{08279C21-06C1-4C67-ADB0-C22182F6E424}"/>
                  </a:ext>
                </a:extLst>
              </p:cNvPr>
              <p:cNvSpPr>
                <a:spLocks/>
              </p:cNvSpPr>
              <p:nvPr/>
            </p:nvSpPr>
            <p:spPr bwMode="auto">
              <a:xfrm>
                <a:off x="5603896" y="2708905"/>
                <a:ext cx="9696" cy="7271"/>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8" name="Freeform 203">
                <a:extLst>
                  <a:ext uri="{FF2B5EF4-FFF2-40B4-BE49-F238E27FC236}">
                    <a16:creationId xmlns:a16="http://schemas.microsoft.com/office/drawing/2014/main" id="{37206719-41B0-4A6D-9028-C8AE63D956AC}"/>
                  </a:ext>
                </a:extLst>
              </p:cNvPr>
              <p:cNvSpPr>
                <a:spLocks/>
              </p:cNvSpPr>
              <p:nvPr/>
            </p:nvSpPr>
            <p:spPr bwMode="auto">
              <a:xfrm>
                <a:off x="5616016" y="2716177"/>
                <a:ext cx="4848" cy="7271"/>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9" name="Freeform 204">
                <a:extLst>
                  <a:ext uri="{FF2B5EF4-FFF2-40B4-BE49-F238E27FC236}">
                    <a16:creationId xmlns:a16="http://schemas.microsoft.com/office/drawing/2014/main" id="{35C9E249-52CE-40A3-8282-6DD7595EC479}"/>
                  </a:ext>
                </a:extLst>
              </p:cNvPr>
              <p:cNvSpPr>
                <a:spLocks/>
              </p:cNvSpPr>
              <p:nvPr/>
            </p:nvSpPr>
            <p:spPr bwMode="auto">
              <a:xfrm>
                <a:off x="5613592" y="2728297"/>
                <a:ext cx="7272" cy="8484"/>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0" name="Freeform 205">
                <a:extLst>
                  <a:ext uri="{FF2B5EF4-FFF2-40B4-BE49-F238E27FC236}">
                    <a16:creationId xmlns:a16="http://schemas.microsoft.com/office/drawing/2014/main" id="{FA5E191E-A3B6-4D66-A5E5-4C8792AB97C7}"/>
                  </a:ext>
                </a:extLst>
              </p:cNvPr>
              <p:cNvSpPr>
                <a:spLocks/>
              </p:cNvSpPr>
              <p:nvPr/>
            </p:nvSpPr>
            <p:spPr bwMode="auto">
              <a:xfrm>
                <a:off x="5611168" y="2704058"/>
                <a:ext cx="9696" cy="14544"/>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1" name="Freeform 206">
                <a:extLst>
                  <a:ext uri="{FF2B5EF4-FFF2-40B4-BE49-F238E27FC236}">
                    <a16:creationId xmlns:a16="http://schemas.microsoft.com/office/drawing/2014/main" id="{66D98153-F7B3-4C11-B2B2-16AF491A9FA3}"/>
                  </a:ext>
                </a:extLst>
              </p:cNvPr>
              <p:cNvSpPr>
                <a:spLocks/>
              </p:cNvSpPr>
              <p:nvPr/>
            </p:nvSpPr>
            <p:spPr bwMode="auto">
              <a:xfrm>
                <a:off x="5613592" y="2704058"/>
                <a:ext cx="9696" cy="7271"/>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2" name="Freeform 207">
                <a:extLst>
                  <a:ext uri="{FF2B5EF4-FFF2-40B4-BE49-F238E27FC236}">
                    <a16:creationId xmlns:a16="http://schemas.microsoft.com/office/drawing/2014/main" id="{4CBC5763-337B-4397-9580-C7C80CA1AEE4}"/>
                  </a:ext>
                </a:extLst>
              </p:cNvPr>
              <p:cNvSpPr>
                <a:spLocks/>
              </p:cNvSpPr>
              <p:nvPr/>
            </p:nvSpPr>
            <p:spPr bwMode="auto">
              <a:xfrm>
                <a:off x="5620864" y="2701633"/>
                <a:ext cx="6060" cy="7271"/>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3" name="Freeform 208">
                <a:extLst>
                  <a:ext uri="{FF2B5EF4-FFF2-40B4-BE49-F238E27FC236}">
                    <a16:creationId xmlns:a16="http://schemas.microsoft.com/office/drawing/2014/main" id="{0B5E4599-8912-41B7-8DB5-8F5660887FDE}"/>
                  </a:ext>
                </a:extLst>
              </p:cNvPr>
              <p:cNvSpPr>
                <a:spLocks/>
              </p:cNvSpPr>
              <p:nvPr/>
            </p:nvSpPr>
            <p:spPr bwMode="auto">
              <a:xfrm>
                <a:off x="5620864" y="2701633"/>
                <a:ext cx="2424" cy="7271"/>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4" name="Freeform 209">
                <a:extLst>
                  <a:ext uri="{FF2B5EF4-FFF2-40B4-BE49-F238E27FC236}">
                    <a16:creationId xmlns:a16="http://schemas.microsoft.com/office/drawing/2014/main" id="{070A0DA4-DFA8-4AD8-B638-5004DE5669F1}"/>
                  </a:ext>
                </a:extLst>
              </p:cNvPr>
              <p:cNvSpPr>
                <a:spLocks noEditPoints="1"/>
              </p:cNvSpPr>
              <p:nvPr/>
            </p:nvSpPr>
            <p:spPr bwMode="auto">
              <a:xfrm>
                <a:off x="5566325" y="3238534"/>
                <a:ext cx="258154" cy="206034"/>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5" name="Freeform 223">
                <a:extLst>
                  <a:ext uri="{FF2B5EF4-FFF2-40B4-BE49-F238E27FC236}">
                    <a16:creationId xmlns:a16="http://schemas.microsoft.com/office/drawing/2014/main" id="{BD7765EE-463D-48B8-80B1-0219486A281C}"/>
                  </a:ext>
                </a:extLst>
              </p:cNvPr>
              <p:cNvSpPr>
                <a:spLocks/>
              </p:cNvSpPr>
              <p:nvPr/>
            </p:nvSpPr>
            <p:spPr bwMode="auto">
              <a:xfrm>
                <a:off x="6687413" y="3684539"/>
                <a:ext cx="16968" cy="39995"/>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6" name="Freeform 224">
                <a:extLst>
                  <a:ext uri="{FF2B5EF4-FFF2-40B4-BE49-F238E27FC236}">
                    <a16:creationId xmlns:a16="http://schemas.microsoft.com/office/drawing/2014/main" id="{6DCD115B-EDAA-4F53-8081-5A94DC58AF73}"/>
                  </a:ext>
                </a:extLst>
              </p:cNvPr>
              <p:cNvSpPr>
                <a:spLocks/>
              </p:cNvSpPr>
              <p:nvPr/>
            </p:nvSpPr>
            <p:spPr bwMode="auto">
              <a:xfrm>
                <a:off x="6789221" y="3682114"/>
                <a:ext cx="8484" cy="16967"/>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7" name="Freeform 225">
                <a:extLst>
                  <a:ext uri="{FF2B5EF4-FFF2-40B4-BE49-F238E27FC236}">
                    <a16:creationId xmlns:a16="http://schemas.microsoft.com/office/drawing/2014/main" id="{D6D4E03D-2007-4989-B6E1-22B892FDABF2}"/>
                  </a:ext>
                </a:extLst>
              </p:cNvPr>
              <p:cNvSpPr>
                <a:spLocks/>
              </p:cNvSpPr>
              <p:nvPr/>
            </p:nvSpPr>
            <p:spPr bwMode="auto">
              <a:xfrm>
                <a:off x="6694685" y="3689386"/>
                <a:ext cx="100595" cy="89686"/>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8" name="Freeform 226">
                <a:extLst>
                  <a:ext uri="{FF2B5EF4-FFF2-40B4-BE49-F238E27FC236}">
                    <a16:creationId xmlns:a16="http://schemas.microsoft.com/office/drawing/2014/main" id="{48456649-7C07-4386-BB9F-6E3A3FBC4D38}"/>
                  </a:ext>
                </a:extLst>
              </p:cNvPr>
              <p:cNvSpPr>
                <a:spLocks/>
              </p:cNvSpPr>
              <p:nvPr/>
            </p:nvSpPr>
            <p:spPr bwMode="auto">
              <a:xfrm>
                <a:off x="6772253" y="3663935"/>
                <a:ext cx="23028" cy="13331"/>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9" name="Freeform 227">
                <a:extLst>
                  <a:ext uri="{FF2B5EF4-FFF2-40B4-BE49-F238E27FC236}">
                    <a16:creationId xmlns:a16="http://schemas.microsoft.com/office/drawing/2014/main" id="{58044476-7ED0-49F6-849B-D541A7426B8F}"/>
                  </a:ext>
                </a:extLst>
              </p:cNvPr>
              <p:cNvSpPr>
                <a:spLocks/>
              </p:cNvSpPr>
              <p:nvPr/>
            </p:nvSpPr>
            <p:spPr bwMode="auto">
              <a:xfrm>
                <a:off x="6640146" y="3592429"/>
                <a:ext cx="4848" cy="12120"/>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0" name="Freeform 228">
                <a:extLst>
                  <a:ext uri="{FF2B5EF4-FFF2-40B4-BE49-F238E27FC236}">
                    <a16:creationId xmlns:a16="http://schemas.microsoft.com/office/drawing/2014/main" id="{1F77D995-B5F6-4BBD-B354-8A9352E57BBD}"/>
                  </a:ext>
                </a:extLst>
              </p:cNvPr>
              <p:cNvSpPr>
                <a:spLocks/>
              </p:cNvSpPr>
              <p:nvPr/>
            </p:nvSpPr>
            <p:spPr bwMode="auto">
              <a:xfrm>
                <a:off x="6394113" y="3526983"/>
                <a:ext cx="13332" cy="35147"/>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1" name="Freeform 229">
                <a:extLst>
                  <a:ext uri="{FF2B5EF4-FFF2-40B4-BE49-F238E27FC236}">
                    <a16:creationId xmlns:a16="http://schemas.microsoft.com/office/drawing/2014/main" id="{58261AD1-2BAF-4D63-A00A-D0C4022999F2}"/>
                  </a:ext>
                </a:extLst>
              </p:cNvPr>
              <p:cNvSpPr>
                <a:spLocks/>
              </p:cNvSpPr>
              <p:nvPr/>
            </p:nvSpPr>
            <p:spPr bwMode="auto">
              <a:xfrm>
                <a:off x="6384416" y="3508803"/>
                <a:ext cx="23028" cy="95745"/>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2" name="Freeform 230">
                <a:extLst>
                  <a:ext uri="{FF2B5EF4-FFF2-40B4-BE49-F238E27FC236}">
                    <a16:creationId xmlns:a16="http://schemas.microsoft.com/office/drawing/2014/main" id="{EE1EA005-871C-4A2C-B3DE-6223900B780F}"/>
                  </a:ext>
                </a:extLst>
              </p:cNvPr>
              <p:cNvSpPr>
                <a:spLocks/>
              </p:cNvSpPr>
              <p:nvPr/>
            </p:nvSpPr>
            <p:spPr bwMode="auto">
              <a:xfrm>
                <a:off x="6379569" y="3553646"/>
                <a:ext cx="9696" cy="10907"/>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3" name="Freeform 231">
                <a:extLst>
                  <a:ext uri="{FF2B5EF4-FFF2-40B4-BE49-F238E27FC236}">
                    <a16:creationId xmlns:a16="http://schemas.microsoft.com/office/drawing/2014/main" id="{4FF1E3E2-CA98-4F66-A0CE-A343E22CE856}"/>
                  </a:ext>
                </a:extLst>
              </p:cNvPr>
              <p:cNvSpPr>
                <a:spLocks noEditPoints="1"/>
              </p:cNvSpPr>
              <p:nvPr/>
            </p:nvSpPr>
            <p:spPr bwMode="auto">
              <a:xfrm>
                <a:off x="6109295" y="3289438"/>
                <a:ext cx="159982" cy="184219"/>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4" name="Freeform 237">
                <a:extLst>
                  <a:ext uri="{FF2B5EF4-FFF2-40B4-BE49-F238E27FC236}">
                    <a16:creationId xmlns:a16="http://schemas.microsoft.com/office/drawing/2014/main" id="{44A60B04-08E7-4C30-A997-68923390AEE3}"/>
                  </a:ext>
                </a:extLst>
              </p:cNvPr>
              <p:cNvSpPr>
                <a:spLocks noEditPoints="1"/>
              </p:cNvSpPr>
              <p:nvPr/>
            </p:nvSpPr>
            <p:spPr bwMode="auto">
              <a:xfrm>
                <a:off x="6106871" y="2010813"/>
                <a:ext cx="3194801" cy="1300440"/>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65" name="Freeform 273">
                <a:extLst>
                  <a:ext uri="{FF2B5EF4-FFF2-40B4-BE49-F238E27FC236}">
                    <a16:creationId xmlns:a16="http://schemas.microsoft.com/office/drawing/2014/main" id="{3537DBD5-47BB-403B-B7FB-3B1D19EF7981}"/>
                  </a:ext>
                </a:extLst>
              </p:cNvPr>
              <p:cNvSpPr>
                <a:spLocks/>
              </p:cNvSpPr>
              <p:nvPr/>
            </p:nvSpPr>
            <p:spPr bwMode="auto">
              <a:xfrm>
                <a:off x="5420886" y="3519711"/>
                <a:ext cx="13332" cy="7271"/>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6" name="Freeform 274">
                <a:extLst>
                  <a:ext uri="{FF2B5EF4-FFF2-40B4-BE49-F238E27FC236}">
                    <a16:creationId xmlns:a16="http://schemas.microsoft.com/office/drawing/2014/main" id="{E68689EA-450B-4AB4-A20E-8607C6FD848A}"/>
                  </a:ext>
                </a:extLst>
              </p:cNvPr>
              <p:cNvSpPr>
                <a:spLocks/>
              </p:cNvSpPr>
              <p:nvPr/>
            </p:nvSpPr>
            <p:spPr bwMode="auto">
              <a:xfrm>
                <a:off x="6546822" y="4557153"/>
                <a:ext cx="9696" cy="15756"/>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7" name="Freeform 275">
                <a:extLst>
                  <a:ext uri="{FF2B5EF4-FFF2-40B4-BE49-F238E27FC236}">
                    <a16:creationId xmlns:a16="http://schemas.microsoft.com/office/drawing/2014/main" id="{263A97E0-9982-4A6F-AB0C-BD624DB02A64}"/>
                  </a:ext>
                </a:extLst>
              </p:cNvPr>
              <p:cNvSpPr>
                <a:spLocks/>
              </p:cNvSpPr>
              <p:nvPr/>
            </p:nvSpPr>
            <p:spPr bwMode="auto">
              <a:xfrm>
                <a:off x="6579547" y="4587453"/>
                <a:ext cx="7272" cy="12120"/>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8" name="Freeform 276">
                <a:extLst>
                  <a:ext uri="{FF2B5EF4-FFF2-40B4-BE49-F238E27FC236}">
                    <a16:creationId xmlns:a16="http://schemas.microsoft.com/office/drawing/2014/main" id="{8E15548D-2B4B-4458-A9C0-BD1B48DD9D1E}"/>
                  </a:ext>
                </a:extLst>
              </p:cNvPr>
              <p:cNvSpPr>
                <a:spLocks/>
              </p:cNvSpPr>
              <p:nvPr/>
            </p:nvSpPr>
            <p:spPr bwMode="auto">
              <a:xfrm>
                <a:off x="6565003" y="4575333"/>
                <a:ext cx="7272" cy="7271"/>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9" name="Freeform 277">
                <a:extLst>
                  <a:ext uri="{FF2B5EF4-FFF2-40B4-BE49-F238E27FC236}">
                    <a16:creationId xmlns:a16="http://schemas.microsoft.com/office/drawing/2014/main" id="{41E18886-ED6A-4429-960D-F7F19184E5E3}"/>
                  </a:ext>
                </a:extLst>
              </p:cNvPr>
              <p:cNvSpPr>
                <a:spLocks/>
              </p:cNvSpPr>
              <p:nvPr/>
            </p:nvSpPr>
            <p:spPr bwMode="auto">
              <a:xfrm>
                <a:off x="6289881" y="4319608"/>
                <a:ext cx="207250" cy="25330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0" name="Freeform 278">
                <a:extLst>
                  <a:ext uri="{FF2B5EF4-FFF2-40B4-BE49-F238E27FC236}">
                    <a16:creationId xmlns:a16="http://schemas.microsoft.com/office/drawing/2014/main" id="{B2C5AB19-BE7B-42A7-99E8-AEF69A538CE3}"/>
                  </a:ext>
                </a:extLst>
              </p:cNvPr>
              <p:cNvSpPr>
                <a:spLocks/>
              </p:cNvSpPr>
              <p:nvPr/>
            </p:nvSpPr>
            <p:spPr bwMode="auto">
              <a:xfrm>
                <a:off x="6471680" y="4425049"/>
                <a:ext cx="10907" cy="23027"/>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1" name="Freeform 279">
                <a:extLst>
                  <a:ext uri="{FF2B5EF4-FFF2-40B4-BE49-F238E27FC236}">
                    <a16:creationId xmlns:a16="http://schemas.microsoft.com/office/drawing/2014/main" id="{2653DB0F-7287-4E98-9C5A-AB5C8363FA72}"/>
                  </a:ext>
                </a:extLst>
              </p:cNvPr>
              <p:cNvSpPr>
                <a:spLocks/>
              </p:cNvSpPr>
              <p:nvPr/>
            </p:nvSpPr>
            <p:spPr bwMode="auto">
              <a:xfrm>
                <a:off x="6478952" y="4409294"/>
                <a:ext cx="6060" cy="13331"/>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2" name="Freeform 280">
                <a:extLst>
                  <a:ext uri="{FF2B5EF4-FFF2-40B4-BE49-F238E27FC236}">
                    <a16:creationId xmlns:a16="http://schemas.microsoft.com/office/drawing/2014/main" id="{D88F0D13-D35D-47DF-9A18-876EBDA93772}"/>
                  </a:ext>
                </a:extLst>
              </p:cNvPr>
              <p:cNvSpPr>
                <a:spLocks/>
              </p:cNvSpPr>
              <p:nvPr/>
            </p:nvSpPr>
            <p:spPr bwMode="auto">
              <a:xfrm>
                <a:off x="6478952" y="4469892"/>
                <a:ext cx="10907" cy="12120"/>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3" name="Freeform 281">
                <a:extLst>
                  <a:ext uri="{FF2B5EF4-FFF2-40B4-BE49-F238E27FC236}">
                    <a16:creationId xmlns:a16="http://schemas.microsoft.com/office/drawing/2014/main" id="{AE1552BC-065B-4DDD-9EF0-C2F49B89C405}"/>
                  </a:ext>
                </a:extLst>
              </p:cNvPr>
              <p:cNvSpPr>
                <a:spLocks/>
              </p:cNvSpPr>
              <p:nvPr/>
            </p:nvSpPr>
            <p:spPr bwMode="auto">
              <a:xfrm>
                <a:off x="6769829" y="4780155"/>
                <a:ext cx="19392" cy="18180"/>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4" name="Freeform 282">
                <a:extLst>
                  <a:ext uri="{FF2B5EF4-FFF2-40B4-BE49-F238E27FC236}">
                    <a16:creationId xmlns:a16="http://schemas.microsoft.com/office/drawing/2014/main" id="{C1399089-CE40-4875-B475-069171CA37D1}"/>
                  </a:ext>
                </a:extLst>
              </p:cNvPr>
              <p:cNvSpPr>
                <a:spLocks/>
              </p:cNvSpPr>
              <p:nvPr/>
            </p:nvSpPr>
            <p:spPr bwMode="auto">
              <a:xfrm>
                <a:off x="6804976" y="4757128"/>
                <a:ext cx="19392" cy="20604"/>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5" name="Freeform 283">
                <a:extLst>
                  <a:ext uri="{FF2B5EF4-FFF2-40B4-BE49-F238E27FC236}">
                    <a16:creationId xmlns:a16="http://schemas.microsoft.com/office/drawing/2014/main" id="{625ABA1B-07A2-4DE7-8046-50636A5C664D}"/>
                  </a:ext>
                </a:extLst>
              </p:cNvPr>
              <p:cNvSpPr>
                <a:spLocks/>
              </p:cNvSpPr>
              <p:nvPr/>
            </p:nvSpPr>
            <p:spPr bwMode="auto">
              <a:xfrm>
                <a:off x="6048696" y="3251866"/>
                <a:ext cx="15756" cy="4848"/>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6" name="Freeform 284">
                <a:extLst>
                  <a:ext uri="{FF2B5EF4-FFF2-40B4-BE49-F238E27FC236}">
                    <a16:creationId xmlns:a16="http://schemas.microsoft.com/office/drawing/2014/main" id="{C691FC68-F9DE-402E-BF27-075D00F02A57}"/>
                  </a:ext>
                </a:extLst>
              </p:cNvPr>
              <p:cNvSpPr>
                <a:spLocks/>
              </p:cNvSpPr>
              <p:nvPr/>
            </p:nvSpPr>
            <p:spPr bwMode="auto">
              <a:xfrm>
                <a:off x="6048696" y="3249442"/>
                <a:ext cx="13332" cy="2424"/>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7" name="Freeform 285">
                <a:extLst>
                  <a:ext uri="{FF2B5EF4-FFF2-40B4-BE49-F238E27FC236}">
                    <a16:creationId xmlns:a16="http://schemas.microsoft.com/office/drawing/2014/main" id="{241E6859-28FB-47B8-8E97-AA6C105EDEC3}"/>
                  </a:ext>
                </a:extLst>
              </p:cNvPr>
              <p:cNvSpPr>
                <a:spLocks/>
              </p:cNvSpPr>
              <p:nvPr/>
            </p:nvSpPr>
            <p:spPr bwMode="auto">
              <a:xfrm>
                <a:off x="6051120" y="3261562"/>
                <a:ext cx="10907" cy="2424"/>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8" name="Freeform 286">
                <a:extLst>
                  <a:ext uri="{FF2B5EF4-FFF2-40B4-BE49-F238E27FC236}">
                    <a16:creationId xmlns:a16="http://schemas.microsoft.com/office/drawing/2014/main" id="{916E7292-7E50-44AD-97B4-9D02F0BAB3F8}"/>
                  </a:ext>
                </a:extLst>
              </p:cNvPr>
              <p:cNvSpPr>
                <a:spLocks/>
              </p:cNvSpPr>
              <p:nvPr/>
            </p:nvSpPr>
            <p:spPr bwMode="auto">
              <a:xfrm>
                <a:off x="6011124" y="3202176"/>
                <a:ext cx="6060" cy="7271"/>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9" name="Freeform 287">
                <a:extLst>
                  <a:ext uri="{FF2B5EF4-FFF2-40B4-BE49-F238E27FC236}">
                    <a16:creationId xmlns:a16="http://schemas.microsoft.com/office/drawing/2014/main" id="{1633E188-D778-4A78-87FE-F3852B53A01C}"/>
                  </a:ext>
                </a:extLst>
              </p:cNvPr>
              <p:cNvSpPr>
                <a:spLocks/>
              </p:cNvSpPr>
              <p:nvPr/>
            </p:nvSpPr>
            <p:spPr bwMode="auto">
              <a:xfrm>
                <a:off x="6008700" y="3202176"/>
                <a:ext cx="6060" cy="16967"/>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80" name="Freeform 288">
                <a:extLst>
                  <a:ext uri="{FF2B5EF4-FFF2-40B4-BE49-F238E27FC236}">
                    <a16:creationId xmlns:a16="http://schemas.microsoft.com/office/drawing/2014/main" id="{51C6F8F7-009D-40AE-8713-26EB8E327DBC}"/>
                  </a:ext>
                </a:extLst>
              </p:cNvPr>
              <p:cNvSpPr>
                <a:spLocks/>
              </p:cNvSpPr>
              <p:nvPr/>
            </p:nvSpPr>
            <p:spPr bwMode="auto">
              <a:xfrm>
                <a:off x="6014760" y="3211871"/>
                <a:ext cx="9696" cy="14544"/>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81" name="Freeform 301">
                <a:extLst>
                  <a:ext uri="{FF2B5EF4-FFF2-40B4-BE49-F238E27FC236}">
                    <a16:creationId xmlns:a16="http://schemas.microsoft.com/office/drawing/2014/main" id="{77BB181A-C23F-4E3B-92D5-118C2CDCDD94}"/>
                  </a:ext>
                </a:extLst>
              </p:cNvPr>
              <p:cNvSpPr>
                <a:spLocks/>
              </p:cNvSpPr>
              <p:nvPr/>
            </p:nvSpPr>
            <p:spPr bwMode="auto">
              <a:xfrm>
                <a:off x="5771151" y="3268834"/>
                <a:ext cx="4848" cy="7271"/>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82" name="Freeform 861">
                <a:extLst>
                  <a:ext uri="{FF2B5EF4-FFF2-40B4-BE49-F238E27FC236}">
                    <a16:creationId xmlns:a16="http://schemas.microsoft.com/office/drawing/2014/main" id="{05E725A0-F925-4FC8-A372-3A6063A0BA04}"/>
                  </a:ext>
                </a:extLst>
              </p:cNvPr>
              <p:cNvSpPr/>
              <p:nvPr/>
            </p:nvSpPr>
            <p:spPr bwMode="ltGray">
              <a:xfrm>
                <a:off x="6185924" y="4020357"/>
                <a:ext cx="198470" cy="56373"/>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9">
                  <a:solidFill>
                    <a:schemeClr val="accent1"/>
                  </a:solidFill>
                </a:endParaRPr>
              </a:p>
            </p:txBody>
          </p:sp>
          <p:sp>
            <p:nvSpPr>
              <p:cNvPr id="883" name="Freeform 862">
                <a:extLst>
                  <a:ext uri="{FF2B5EF4-FFF2-40B4-BE49-F238E27FC236}">
                    <a16:creationId xmlns:a16="http://schemas.microsoft.com/office/drawing/2014/main" id="{8B8AF599-150C-4EF8-B35C-626F29440D08}"/>
                  </a:ext>
                </a:extLst>
              </p:cNvPr>
              <p:cNvSpPr/>
              <p:nvPr/>
            </p:nvSpPr>
            <p:spPr bwMode="ltGray">
              <a:xfrm>
                <a:off x="6183766" y="4018450"/>
                <a:ext cx="230741" cy="197957"/>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9" err="1">
                  <a:solidFill>
                    <a:schemeClr val="accent1"/>
                  </a:solidFill>
                </a:endParaRPr>
              </a:p>
            </p:txBody>
          </p:sp>
          <p:sp>
            <p:nvSpPr>
              <p:cNvPr id="884" name="Freeform 83">
                <a:extLst>
                  <a:ext uri="{FF2B5EF4-FFF2-40B4-BE49-F238E27FC236}">
                    <a16:creationId xmlns:a16="http://schemas.microsoft.com/office/drawing/2014/main" id="{E5FFE649-7C03-497A-A59C-99DB778DE8A8}"/>
                  </a:ext>
                </a:extLst>
              </p:cNvPr>
              <p:cNvSpPr>
                <a:spLocks/>
              </p:cNvSpPr>
              <p:nvPr/>
            </p:nvSpPr>
            <p:spPr bwMode="auto">
              <a:xfrm>
                <a:off x="6151403" y="3760138"/>
                <a:ext cx="310573" cy="319434"/>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 9488 h 10009"/>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grpSp>
      </p:grpSp>
      <p:graphicFrame>
        <p:nvGraphicFramePr>
          <p:cNvPr id="9" name="Object 8" hidden="1">
            <a:extLst>
              <a:ext uri="{FF2B5EF4-FFF2-40B4-BE49-F238E27FC236}">
                <a16:creationId xmlns:a16="http://schemas.microsoft.com/office/drawing/2014/main" id="{602F90B5-EEBE-429F-8C5E-69A7C297A7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602F90B5-EEBE-429F-8C5E-69A7C297A7F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FA94100-5031-47D6-AC15-1CEC3697D9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7E466EA-391C-4252-902B-AAC685B41965}"/>
              </a:ext>
            </a:extLst>
          </p:cNvPr>
          <p:cNvSpPr>
            <a:spLocks noGrp="1"/>
          </p:cNvSpPr>
          <p:nvPr>
            <p:ph type="title"/>
          </p:nvPr>
        </p:nvSpPr>
        <p:spPr/>
        <p:txBody>
          <a:bodyPr/>
          <a:lstStyle/>
          <a:p>
            <a:r>
              <a:rPr lang="en-US"/>
              <a:t>E-Commerce Global Distribution - 2019</a:t>
            </a:r>
          </a:p>
        </p:txBody>
      </p:sp>
      <p:sp>
        <p:nvSpPr>
          <p:cNvPr id="332" name="TextBox 331">
            <a:extLst>
              <a:ext uri="{FF2B5EF4-FFF2-40B4-BE49-F238E27FC236}">
                <a16:creationId xmlns:a16="http://schemas.microsoft.com/office/drawing/2014/main" id="{2A61F53F-5248-440C-A45E-09D72997A3F1}"/>
              </a:ext>
            </a:extLst>
          </p:cNvPr>
          <p:cNvSpPr txBox="1"/>
          <p:nvPr/>
        </p:nvSpPr>
        <p:spPr>
          <a:xfrm>
            <a:off x="421074" y="3189671"/>
            <a:ext cx="2124678" cy="492443"/>
          </a:xfrm>
          <a:prstGeom prst="rect">
            <a:avLst/>
          </a:prstGeom>
          <a:noFill/>
        </p:spPr>
        <p:txBody>
          <a:bodyPr wrap="square" lIns="0" tIns="0" rIns="0" bIns="0" rtlCol="0" anchor="b">
            <a:spAutoFit/>
          </a:bodyPr>
          <a:lstStyle/>
          <a:p>
            <a:pPr defTabSz="1219140">
              <a:buSzPct val="100000"/>
              <a:defRPr/>
            </a:pPr>
            <a:r>
              <a:rPr lang="en-US" sz="3200">
                <a:solidFill>
                  <a:schemeClr val="accent1"/>
                </a:solidFill>
              </a:rPr>
              <a:t>US</a:t>
            </a:r>
          </a:p>
        </p:txBody>
      </p:sp>
      <p:sp>
        <p:nvSpPr>
          <p:cNvPr id="333" name="Freeform: Shape 332">
            <a:extLst>
              <a:ext uri="{FF2B5EF4-FFF2-40B4-BE49-F238E27FC236}">
                <a16:creationId xmlns:a16="http://schemas.microsoft.com/office/drawing/2014/main" id="{EF81F450-9B23-400A-AF28-7695AB84D8D9}"/>
              </a:ext>
            </a:extLst>
          </p:cNvPr>
          <p:cNvSpPr/>
          <p:nvPr/>
        </p:nvSpPr>
        <p:spPr>
          <a:xfrm flipV="1">
            <a:off x="406287" y="3404055"/>
            <a:ext cx="3207152" cy="322855"/>
          </a:xfrm>
          <a:custGeom>
            <a:avLst/>
            <a:gdLst>
              <a:gd name="connsiteX0" fmla="*/ 2946400 w 2946400"/>
              <a:gd name="connsiteY0" fmla="*/ 295564 h 295564"/>
              <a:gd name="connsiteX1" fmla="*/ 2650836 w 2946400"/>
              <a:gd name="connsiteY1" fmla="*/ 0 h 295564"/>
              <a:gd name="connsiteX2" fmla="*/ 0 w 2946400"/>
              <a:gd name="connsiteY2" fmla="*/ 0 h 295564"/>
            </a:gdLst>
            <a:ahLst/>
            <a:cxnLst>
              <a:cxn ang="0">
                <a:pos x="connsiteX0" y="connsiteY0"/>
              </a:cxn>
              <a:cxn ang="0">
                <a:pos x="connsiteX1" y="connsiteY1"/>
              </a:cxn>
              <a:cxn ang="0">
                <a:pos x="connsiteX2" y="connsiteY2"/>
              </a:cxn>
            </a:cxnLst>
            <a:rect l="l" t="t" r="r" b="b"/>
            <a:pathLst>
              <a:path w="2946400" h="295564">
                <a:moveTo>
                  <a:pt x="2946400" y="295564"/>
                </a:moveTo>
                <a:lnTo>
                  <a:pt x="2650836" y="0"/>
                </a:ln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34" name="TextBox 333">
            <a:extLst>
              <a:ext uri="{FF2B5EF4-FFF2-40B4-BE49-F238E27FC236}">
                <a16:creationId xmlns:a16="http://schemas.microsoft.com/office/drawing/2014/main" id="{0A6EA5E9-1DC1-43E0-A16E-B027804652CB}"/>
              </a:ext>
            </a:extLst>
          </p:cNvPr>
          <p:cNvSpPr txBox="1"/>
          <p:nvPr/>
        </p:nvSpPr>
        <p:spPr>
          <a:xfrm>
            <a:off x="421074" y="3809293"/>
            <a:ext cx="2124678" cy="492443"/>
          </a:xfrm>
          <a:prstGeom prst="rect">
            <a:avLst/>
          </a:prstGeom>
          <a:noFill/>
        </p:spPr>
        <p:txBody>
          <a:bodyPr wrap="square" lIns="0" tIns="0" rIns="0" bIns="0" rtlCol="0">
            <a:spAutoFit/>
          </a:bodyPr>
          <a:lstStyle/>
          <a:p>
            <a:pPr defTabSz="1219140">
              <a:buSzPct val="100000"/>
              <a:defRPr/>
            </a:pPr>
            <a:r>
              <a:rPr lang="en-US" sz="3200" b="1">
                <a:solidFill>
                  <a:schemeClr val="accent1"/>
                </a:solidFill>
              </a:rPr>
              <a:t>$365</a:t>
            </a:r>
            <a:r>
              <a:rPr lang="en-US" sz="3100" b="1">
                <a:solidFill>
                  <a:schemeClr val="accent1"/>
                </a:solidFill>
              </a:rPr>
              <a:t>B</a:t>
            </a:r>
          </a:p>
        </p:txBody>
      </p:sp>
      <p:sp>
        <p:nvSpPr>
          <p:cNvPr id="337" name="TextBox 336">
            <a:extLst>
              <a:ext uri="{FF2B5EF4-FFF2-40B4-BE49-F238E27FC236}">
                <a16:creationId xmlns:a16="http://schemas.microsoft.com/office/drawing/2014/main" id="{542796D8-9CD8-444D-A91C-37910543489F}"/>
              </a:ext>
            </a:extLst>
          </p:cNvPr>
          <p:cNvSpPr txBox="1"/>
          <p:nvPr/>
        </p:nvSpPr>
        <p:spPr>
          <a:xfrm flipH="1">
            <a:off x="10256315" y="4092649"/>
            <a:ext cx="1465952" cy="553998"/>
          </a:xfrm>
          <a:prstGeom prst="rect">
            <a:avLst/>
          </a:prstGeom>
          <a:noFill/>
        </p:spPr>
        <p:txBody>
          <a:bodyPr wrap="square" lIns="0" tIns="0" rIns="0" bIns="0" rtlCol="0" anchor="b">
            <a:spAutoFit/>
          </a:bodyPr>
          <a:lstStyle/>
          <a:p>
            <a:pPr algn="r" defTabSz="1219140">
              <a:buSzPct val="100000"/>
              <a:defRPr/>
            </a:pPr>
            <a:r>
              <a:rPr lang="en-US" sz="3600">
                <a:solidFill>
                  <a:schemeClr val="accent1"/>
                </a:solidFill>
              </a:rPr>
              <a:t>China</a:t>
            </a:r>
          </a:p>
        </p:txBody>
      </p:sp>
      <p:sp>
        <p:nvSpPr>
          <p:cNvPr id="339" name="TextBox 338">
            <a:extLst>
              <a:ext uri="{FF2B5EF4-FFF2-40B4-BE49-F238E27FC236}">
                <a16:creationId xmlns:a16="http://schemas.microsoft.com/office/drawing/2014/main" id="{33430AD5-08B8-4971-B44A-3895AD4E7F74}"/>
              </a:ext>
            </a:extLst>
          </p:cNvPr>
          <p:cNvSpPr txBox="1"/>
          <p:nvPr/>
        </p:nvSpPr>
        <p:spPr>
          <a:xfrm flipH="1">
            <a:off x="10256315" y="4762917"/>
            <a:ext cx="1465952" cy="553998"/>
          </a:xfrm>
          <a:prstGeom prst="rect">
            <a:avLst/>
          </a:prstGeom>
          <a:noFill/>
        </p:spPr>
        <p:txBody>
          <a:bodyPr wrap="square" lIns="0" tIns="0" rIns="0" bIns="0" rtlCol="0">
            <a:spAutoFit/>
          </a:bodyPr>
          <a:lstStyle/>
          <a:p>
            <a:pPr algn="r" defTabSz="1219140">
              <a:buSzPct val="100000"/>
              <a:defRPr/>
            </a:pPr>
            <a:r>
              <a:rPr lang="en-US" sz="3600" b="1">
                <a:solidFill>
                  <a:schemeClr val="accent1"/>
                </a:solidFill>
              </a:rPr>
              <a:t>$723</a:t>
            </a:r>
            <a:r>
              <a:rPr lang="en-US" sz="3500" b="1">
                <a:solidFill>
                  <a:schemeClr val="accent1"/>
                </a:solidFill>
              </a:rPr>
              <a:t>B</a:t>
            </a:r>
          </a:p>
        </p:txBody>
      </p:sp>
      <p:sp>
        <p:nvSpPr>
          <p:cNvPr id="342" name="TextBox 341">
            <a:extLst>
              <a:ext uri="{FF2B5EF4-FFF2-40B4-BE49-F238E27FC236}">
                <a16:creationId xmlns:a16="http://schemas.microsoft.com/office/drawing/2014/main" id="{51080E3B-0B09-4EB8-BC26-0C24B4C847F2}"/>
              </a:ext>
            </a:extLst>
          </p:cNvPr>
          <p:cNvSpPr txBox="1"/>
          <p:nvPr/>
        </p:nvSpPr>
        <p:spPr>
          <a:xfrm flipH="1">
            <a:off x="10454280" y="2318826"/>
            <a:ext cx="1300050" cy="276999"/>
          </a:xfrm>
          <a:prstGeom prst="rect">
            <a:avLst/>
          </a:prstGeom>
          <a:noFill/>
        </p:spPr>
        <p:txBody>
          <a:bodyPr wrap="square" lIns="0" tIns="0" rIns="0" bIns="0" rtlCol="0" anchor="b">
            <a:spAutoFit/>
          </a:bodyPr>
          <a:lstStyle/>
          <a:p>
            <a:pPr algn="r" defTabSz="1219140">
              <a:buSzPct val="100000"/>
              <a:defRPr/>
            </a:pPr>
            <a:r>
              <a:rPr lang="en-US">
                <a:solidFill>
                  <a:schemeClr val="accent1"/>
                </a:solidFill>
              </a:rPr>
              <a:t>Japan</a:t>
            </a:r>
          </a:p>
        </p:txBody>
      </p:sp>
      <p:sp>
        <p:nvSpPr>
          <p:cNvPr id="343" name="Freeform: Shape 342">
            <a:extLst>
              <a:ext uri="{FF2B5EF4-FFF2-40B4-BE49-F238E27FC236}">
                <a16:creationId xmlns:a16="http://schemas.microsoft.com/office/drawing/2014/main" id="{EEC7F4D1-7217-4D6F-9A6C-28EDD1C70501}"/>
              </a:ext>
            </a:extLst>
          </p:cNvPr>
          <p:cNvSpPr/>
          <p:nvPr/>
        </p:nvSpPr>
        <p:spPr>
          <a:xfrm flipH="1">
            <a:off x="8454853" y="2616974"/>
            <a:ext cx="3351223" cy="586670"/>
          </a:xfrm>
          <a:custGeom>
            <a:avLst/>
            <a:gdLst>
              <a:gd name="connsiteX0" fmla="*/ 2946400 w 2946400"/>
              <a:gd name="connsiteY0" fmla="*/ 295564 h 295564"/>
              <a:gd name="connsiteX1" fmla="*/ 2650836 w 2946400"/>
              <a:gd name="connsiteY1" fmla="*/ 0 h 295564"/>
              <a:gd name="connsiteX2" fmla="*/ 0 w 2946400"/>
              <a:gd name="connsiteY2" fmla="*/ 0 h 295564"/>
            </a:gdLst>
            <a:ahLst/>
            <a:cxnLst>
              <a:cxn ang="0">
                <a:pos x="connsiteX0" y="connsiteY0"/>
              </a:cxn>
              <a:cxn ang="0">
                <a:pos x="connsiteX1" y="connsiteY1"/>
              </a:cxn>
              <a:cxn ang="0">
                <a:pos x="connsiteX2" y="connsiteY2"/>
              </a:cxn>
            </a:cxnLst>
            <a:rect l="l" t="t" r="r" b="b"/>
            <a:pathLst>
              <a:path w="2946400" h="295564">
                <a:moveTo>
                  <a:pt x="2946400" y="295564"/>
                </a:moveTo>
                <a:lnTo>
                  <a:pt x="2650836" y="0"/>
                </a:ln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44" name="TextBox 343">
            <a:extLst>
              <a:ext uri="{FF2B5EF4-FFF2-40B4-BE49-F238E27FC236}">
                <a16:creationId xmlns:a16="http://schemas.microsoft.com/office/drawing/2014/main" id="{30B1EE04-E501-4CB2-93B0-15D4DF74BA69}"/>
              </a:ext>
            </a:extLst>
          </p:cNvPr>
          <p:cNvSpPr txBox="1"/>
          <p:nvPr/>
        </p:nvSpPr>
        <p:spPr>
          <a:xfrm flipH="1">
            <a:off x="10454280" y="2704302"/>
            <a:ext cx="1300050" cy="276999"/>
          </a:xfrm>
          <a:prstGeom prst="rect">
            <a:avLst/>
          </a:prstGeom>
          <a:noFill/>
        </p:spPr>
        <p:txBody>
          <a:bodyPr wrap="square" lIns="0" tIns="0" rIns="0" bIns="0" rtlCol="0">
            <a:spAutoFit/>
          </a:bodyPr>
          <a:lstStyle/>
          <a:p>
            <a:pPr algn="r" defTabSz="1219140">
              <a:buSzPct val="100000"/>
              <a:defRPr/>
            </a:pPr>
            <a:r>
              <a:rPr lang="en-US" b="1">
                <a:solidFill>
                  <a:schemeClr val="accent1"/>
                </a:solidFill>
              </a:rPr>
              <a:t>$89</a:t>
            </a:r>
            <a:r>
              <a:rPr lang="en-US" sz="1700" b="1">
                <a:solidFill>
                  <a:schemeClr val="accent1"/>
                </a:solidFill>
              </a:rPr>
              <a:t>B</a:t>
            </a:r>
          </a:p>
        </p:txBody>
      </p:sp>
      <p:sp>
        <p:nvSpPr>
          <p:cNvPr id="346" name="TextBox 345">
            <a:extLst>
              <a:ext uri="{FF2B5EF4-FFF2-40B4-BE49-F238E27FC236}">
                <a16:creationId xmlns:a16="http://schemas.microsoft.com/office/drawing/2014/main" id="{58FFC474-0264-4F11-8309-D76079C65EDD}"/>
              </a:ext>
            </a:extLst>
          </p:cNvPr>
          <p:cNvSpPr txBox="1"/>
          <p:nvPr/>
        </p:nvSpPr>
        <p:spPr>
          <a:xfrm flipH="1">
            <a:off x="10451214" y="3182611"/>
            <a:ext cx="1300050" cy="246221"/>
          </a:xfrm>
          <a:prstGeom prst="rect">
            <a:avLst/>
          </a:prstGeom>
          <a:noFill/>
        </p:spPr>
        <p:txBody>
          <a:bodyPr wrap="square" lIns="0" tIns="0" rIns="0" bIns="0" rtlCol="0" anchor="b">
            <a:spAutoFit/>
          </a:bodyPr>
          <a:lstStyle/>
          <a:p>
            <a:pPr algn="r" defTabSz="1219140">
              <a:buSzPct val="100000"/>
              <a:defRPr/>
            </a:pPr>
            <a:r>
              <a:rPr lang="en-US" sz="1600">
                <a:solidFill>
                  <a:schemeClr val="accent1"/>
                </a:solidFill>
              </a:rPr>
              <a:t>South Korea</a:t>
            </a:r>
          </a:p>
        </p:txBody>
      </p:sp>
      <p:sp>
        <p:nvSpPr>
          <p:cNvPr id="347" name="Freeform: Shape 346">
            <a:extLst>
              <a:ext uri="{FF2B5EF4-FFF2-40B4-BE49-F238E27FC236}">
                <a16:creationId xmlns:a16="http://schemas.microsoft.com/office/drawing/2014/main" id="{80917339-B3EB-4AA7-82DA-87632F3EB16B}"/>
              </a:ext>
            </a:extLst>
          </p:cNvPr>
          <p:cNvSpPr/>
          <p:nvPr/>
        </p:nvSpPr>
        <p:spPr>
          <a:xfrm flipH="1" flipV="1">
            <a:off x="8155963" y="3403755"/>
            <a:ext cx="3631296" cy="45719"/>
          </a:xfrm>
          <a:custGeom>
            <a:avLst/>
            <a:gdLst>
              <a:gd name="connsiteX0" fmla="*/ 2946400 w 2946400"/>
              <a:gd name="connsiteY0" fmla="*/ 295564 h 295564"/>
              <a:gd name="connsiteX1" fmla="*/ 2650836 w 2946400"/>
              <a:gd name="connsiteY1" fmla="*/ 0 h 295564"/>
              <a:gd name="connsiteX2" fmla="*/ 0 w 2946400"/>
              <a:gd name="connsiteY2" fmla="*/ 0 h 295564"/>
              <a:gd name="connsiteX0" fmla="*/ 5457747 w 5457747"/>
              <a:gd name="connsiteY0" fmla="*/ 295564 h 295564"/>
              <a:gd name="connsiteX1" fmla="*/ 5162183 w 5457747"/>
              <a:gd name="connsiteY1" fmla="*/ 0 h 295564"/>
              <a:gd name="connsiteX2" fmla="*/ 0 w 5457747"/>
              <a:gd name="connsiteY2" fmla="*/ 0 h 295564"/>
            </a:gdLst>
            <a:ahLst/>
            <a:cxnLst>
              <a:cxn ang="0">
                <a:pos x="connsiteX0" y="connsiteY0"/>
              </a:cxn>
              <a:cxn ang="0">
                <a:pos x="connsiteX1" y="connsiteY1"/>
              </a:cxn>
              <a:cxn ang="0">
                <a:pos x="connsiteX2" y="connsiteY2"/>
              </a:cxn>
            </a:cxnLst>
            <a:rect l="l" t="t" r="r" b="b"/>
            <a:pathLst>
              <a:path w="5457747" h="295564">
                <a:moveTo>
                  <a:pt x="5457747" y="295564"/>
                </a:moveTo>
                <a:lnTo>
                  <a:pt x="5162183" y="0"/>
                </a:ln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48" name="TextBox 347">
            <a:extLst>
              <a:ext uri="{FF2B5EF4-FFF2-40B4-BE49-F238E27FC236}">
                <a16:creationId xmlns:a16="http://schemas.microsoft.com/office/drawing/2014/main" id="{C483449A-13E4-4C72-AE09-7603F4446CCE}"/>
              </a:ext>
            </a:extLst>
          </p:cNvPr>
          <p:cNvSpPr txBox="1"/>
          <p:nvPr/>
        </p:nvSpPr>
        <p:spPr>
          <a:xfrm flipH="1">
            <a:off x="10451214" y="3529517"/>
            <a:ext cx="1300050" cy="246221"/>
          </a:xfrm>
          <a:prstGeom prst="rect">
            <a:avLst/>
          </a:prstGeom>
          <a:noFill/>
        </p:spPr>
        <p:txBody>
          <a:bodyPr wrap="square" lIns="0" tIns="0" rIns="0" bIns="0" rtlCol="0">
            <a:spAutoFit/>
          </a:bodyPr>
          <a:lstStyle/>
          <a:p>
            <a:pPr algn="r" defTabSz="1219140">
              <a:buSzPct val="100000"/>
              <a:defRPr/>
            </a:pPr>
            <a:r>
              <a:rPr lang="en-US" sz="1600" b="1">
                <a:solidFill>
                  <a:schemeClr val="accent1"/>
                </a:solidFill>
              </a:rPr>
              <a:t>$66B</a:t>
            </a:r>
          </a:p>
        </p:txBody>
      </p:sp>
      <p:sp>
        <p:nvSpPr>
          <p:cNvPr id="349" name="Freeform: Shape 348">
            <a:extLst>
              <a:ext uri="{FF2B5EF4-FFF2-40B4-BE49-F238E27FC236}">
                <a16:creationId xmlns:a16="http://schemas.microsoft.com/office/drawing/2014/main" id="{B743BA28-2CBC-4076-A41B-1530430F014B}"/>
              </a:ext>
            </a:extLst>
          </p:cNvPr>
          <p:cNvSpPr/>
          <p:nvPr/>
        </p:nvSpPr>
        <p:spPr>
          <a:xfrm>
            <a:off x="7865552" y="3649631"/>
            <a:ext cx="3945447" cy="1019866"/>
          </a:xfrm>
          <a:custGeom>
            <a:avLst/>
            <a:gdLst>
              <a:gd name="connsiteX0" fmla="*/ 0 w 3803650"/>
              <a:gd name="connsiteY0" fmla="*/ 0 h 768350"/>
              <a:gd name="connsiteX1" fmla="*/ 768350 w 3803650"/>
              <a:gd name="connsiteY1" fmla="*/ 768350 h 768350"/>
              <a:gd name="connsiteX2" fmla="*/ 3803650 w 3803650"/>
              <a:gd name="connsiteY2" fmla="*/ 768350 h 768350"/>
            </a:gdLst>
            <a:ahLst/>
            <a:cxnLst>
              <a:cxn ang="0">
                <a:pos x="connsiteX0" y="connsiteY0"/>
              </a:cxn>
              <a:cxn ang="0">
                <a:pos x="connsiteX1" y="connsiteY1"/>
              </a:cxn>
              <a:cxn ang="0">
                <a:pos x="connsiteX2" y="connsiteY2"/>
              </a:cxn>
            </a:cxnLst>
            <a:rect l="l" t="t" r="r" b="b"/>
            <a:pathLst>
              <a:path w="3803650" h="768350">
                <a:moveTo>
                  <a:pt x="0" y="0"/>
                </a:moveTo>
                <a:lnTo>
                  <a:pt x="768350" y="768350"/>
                </a:lnTo>
                <a:lnTo>
                  <a:pt x="3803650" y="76835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52" name="Freeform: Shape 351">
            <a:extLst>
              <a:ext uri="{FF2B5EF4-FFF2-40B4-BE49-F238E27FC236}">
                <a16:creationId xmlns:a16="http://schemas.microsoft.com/office/drawing/2014/main" id="{E0A0E042-FF72-4891-9818-E39E4ADA7CD3}"/>
              </a:ext>
            </a:extLst>
          </p:cNvPr>
          <p:cNvSpPr/>
          <p:nvPr/>
        </p:nvSpPr>
        <p:spPr>
          <a:xfrm>
            <a:off x="5761452" y="1816140"/>
            <a:ext cx="47267" cy="1158864"/>
          </a:xfrm>
          <a:custGeom>
            <a:avLst/>
            <a:gdLst>
              <a:gd name="connsiteX0" fmla="*/ 0 w 0"/>
              <a:gd name="connsiteY0" fmla="*/ 944880 h 944880"/>
              <a:gd name="connsiteX1" fmla="*/ 0 w 0"/>
              <a:gd name="connsiteY1" fmla="*/ 0 h 944880"/>
            </a:gdLst>
            <a:ahLst/>
            <a:cxnLst>
              <a:cxn ang="0">
                <a:pos x="connsiteX0" y="connsiteY0"/>
              </a:cxn>
              <a:cxn ang="0">
                <a:pos x="connsiteX1" y="connsiteY1"/>
              </a:cxn>
            </a:cxnLst>
            <a:rect l="l" t="t" r="r" b="b"/>
            <a:pathLst>
              <a:path h="944880">
                <a:moveTo>
                  <a:pt x="0" y="944880"/>
                </a:move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53" name="TextBox 352">
            <a:extLst>
              <a:ext uri="{FF2B5EF4-FFF2-40B4-BE49-F238E27FC236}">
                <a16:creationId xmlns:a16="http://schemas.microsoft.com/office/drawing/2014/main" id="{BCB64773-B655-49A2-B92D-DB9C0636827B}"/>
              </a:ext>
            </a:extLst>
          </p:cNvPr>
          <p:cNvSpPr txBox="1"/>
          <p:nvPr/>
        </p:nvSpPr>
        <p:spPr>
          <a:xfrm>
            <a:off x="4906501" y="1595821"/>
            <a:ext cx="803197" cy="276999"/>
          </a:xfrm>
          <a:prstGeom prst="rect">
            <a:avLst/>
          </a:prstGeom>
          <a:noFill/>
        </p:spPr>
        <p:txBody>
          <a:bodyPr wrap="square" lIns="0" tIns="0" rIns="0" bIns="0" rtlCol="0" anchor="t">
            <a:spAutoFit/>
          </a:bodyPr>
          <a:lstStyle/>
          <a:p>
            <a:pPr algn="r" defTabSz="1219140">
              <a:buSzPct val="100000"/>
              <a:defRPr/>
            </a:pPr>
            <a:r>
              <a:rPr lang="pl-PL">
                <a:solidFill>
                  <a:schemeClr val="accent1"/>
                </a:solidFill>
              </a:rPr>
              <a:t>UK</a:t>
            </a:r>
            <a:endParaRPr lang="en-US">
              <a:solidFill>
                <a:schemeClr val="accent1"/>
              </a:solidFill>
            </a:endParaRPr>
          </a:p>
        </p:txBody>
      </p:sp>
      <p:sp>
        <p:nvSpPr>
          <p:cNvPr id="354" name="TextBox 353">
            <a:extLst>
              <a:ext uri="{FF2B5EF4-FFF2-40B4-BE49-F238E27FC236}">
                <a16:creationId xmlns:a16="http://schemas.microsoft.com/office/drawing/2014/main" id="{04DA1DE0-F1E9-4D95-8D52-405C402E5298}"/>
              </a:ext>
            </a:extLst>
          </p:cNvPr>
          <p:cNvSpPr txBox="1"/>
          <p:nvPr/>
        </p:nvSpPr>
        <p:spPr>
          <a:xfrm>
            <a:off x="5822892" y="1595821"/>
            <a:ext cx="803197" cy="276999"/>
          </a:xfrm>
          <a:prstGeom prst="rect">
            <a:avLst/>
          </a:prstGeom>
          <a:noFill/>
        </p:spPr>
        <p:txBody>
          <a:bodyPr wrap="square" lIns="0" tIns="0" rIns="0" bIns="0" rtlCol="0" anchor="t">
            <a:spAutoFit/>
          </a:bodyPr>
          <a:lstStyle/>
          <a:p>
            <a:pPr defTabSz="1219140">
              <a:buSzPct val="100000"/>
              <a:defRPr/>
            </a:pPr>
            <a:r>
              <a:rPr lang="en-US" b="1">
                <a:solidFill>
                  <a:schemeClr val="accent1"/>
                </a:solidFill>
              </a:rPr>
              <a:t>$79</a:t>
            </a:r>
            <a:r>
              <a:rPr lang="en-US" sz="1700" b="1">
                <a:solidFill>
                  <a:schemeClr val="accent1"/>
                </a:solidFill>
              </a:rPr>
              <a:t>B</a:t>
            </a:r>
          </a:p>
        </p:txBody>
      </p:sp>
      <p:sp>
        <p:nvSpPr>
          <p:cNvPr id="355" name="Freeform: Shape 354">
            <a:extLst>
              <a:ext uri="{FF2B5EF4-FFF2-40B4-BE49-F238E27FC236}">
                <a16:creationId xmlns:a16="http://schemas.microsoft.com/office/drawing/2014/main" id="{4F568604-0DE5-426F-8806-22AAFF3D8C93}"/>
              </a:ext>
            </a:extLst>
          </p:cNvPr>
          <p:cNvSpPr/>
          <p:nvPr/>
        </p:nvSpPr>
        <p:spPr>
          <a:xfrm>
            <a:off x="8513525" y="5007103"/>
            <a:ext cx="1653093" cy="765069"/>
          </a:xfrm>
          <a:custGeom>
            <a:avLst/>
            <a:gdLst>
              <a:gd name="connsiteX0" fmla="*/ 0 w 3228975"/>
              <a:gd name="connsiteY0" fmla="*/ 0 h 409575"/>
              <a:gd name="connsiteX1" fmla="*/ 409575 w 3228975"/>
              <a:gd name="connsiteY1" fmla="*/ 409575 h 409575"/>
              <a:gd name="connsiteX2" fmla="*/ 3228975 w 3228975"/>
              <a:gd name="connsiteY2" fmla="*/ 409575 h 409575"/>
            </a:gdLst>
            <a:ahLst/>
            <a:cxnLst>
              <a:cxn ang="0">
                <a:pos x="connsiteX0" y="connsiteY0"/>
              </a:cxn>
              <a:cxn ang="0">
                <a:pos x="connsiteX1" y="connsiteY1"/>
              </a:cxn>
              <a:cxn ang="0">
                <a:pos x="connsiteX2" y="connsiteY2"/>
              </a:cxn>
            </a:cxnLst>
            <a:rect l="l" t="t" r="r" b="b"/>
            <a:pathLst>
              <a:path w="3228975" h="409575">
                <a:moveTo>
                  <a:pt x="0" y="0"/>
                </a:moveTo>
                <a:lnTo>
                  <a:pt x="409575" y="409575"/>
                </a:lnTo>
                <a:lnTo>
                  <a:pt x="3228975" y="409575"/>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56" name="TextBox 355">
            <a:extLst>
              <a:ext uri="{FF2B5EF4-FFF2-40B4-BE49-F238E27FC236}">
                <a16:creationId xmlns:a16="http://schemas.microsoft.com/office/drawing/2014/main" id="{B71CCBA3-3D86-484C-9F96-6486C8183CF0}"/>
              </a:ext>
            </a:extLst>
          </p:cNvPr>
          <p:cNvSpPr txBox="1"/>
          <p:nvPr/>
        </p:nvSpPr>
        <p:spPr>
          <a:xfrm flipH="1">
            <a:off x="8904139" y="5509093"/>
            <a:ext cx="1300050" cy="246221"/>
          </a:xfrm>
          <a:prstGeom prst="rect">
            <a:avLst/>
          </a:prstGeom>
          <a:noFill/>
        </p:spPr>
        <p:txBody>
          <a:bodyPr wrap="square" lIns="0" tIns="0" rIns="0" bIns="0" rtlCol="0" anchor="b">
            <a:spAutoFit/>
          </a:bodyPr>
          <a:lstStyle/>
          <a:p>
            <a:pPr algn="r" defTabSz="1219140">
              <a:buSzPct val="100000"/>
              <a:defRPr/>
            </a:pPr>
            <a:r>
              <a:rPr lang="en-US" sz="1600">
                <a:solidFill>
                  <a:schemeClr val="accent1"/>
                </a:solidFill>
              </a:rPr>
              <a:t>Australia</a:t>
            </a:r>
          </a:p>
        </p:txBody>
      </p:sp>
      <p:sp>
        <p:nvSpPr>
          <p:cNvPr id="357" name="TextBox 356">
            <a:extLst>
              <a:ext uri="{FF2B5EF4-FFF2-40B4-BE49-F238E27FC236}">
                <a16:creationId xmlns:a16="http://schemas.microsoft.com/office/drawing/2014/main" id="{E8242F07-77D9-426A-8AC6-6A96FEBE85BD}"/>
              </a:ext>
            </a:extLst>
          </p:cNvPr>
          <p:cNvSpPr txBox="1"/>
          <p:nvPr/>
        </p:nvSpPr>
        <p:spPr>
          <a:xfrm flipH="1">
            <a:off x="8904139" y="5860971"/>
            <a:ext cx="1300050" cy="246221"/>
          </a:xfrm>
          <a:prstGeom prst="rect">
            <a:avLst/>
          </a:prstGeom>
          <a:noFill/>
        </p:spPr>
        <p:txBody>
          <a:bodyPr wrap="square" lIns="0" tIns="0" rIns="0" bIns="0" rtlCol="0">
            <a:spAutoFit/>
          </a:bodyPr>
          <a:lstStyle/>
          <a:p>
            <a:pPr algn="r" defTabSz="1219140">
              <a:buSzPct val="100000"/>
              <a:defRPr/>
            </a:pPr>
            <a:r>
              <a:rPr lang="en-US" sz="1600" b="1">
                <a:solidFill>
                  <a:schemeClr val="accent1"/>
                </a:solidFill>
              </a:rPr>
              <a:t>$21B</a:t>
            </a:r>
          </a:p>
        </p:txBody>
      </p:sp>
      <p:sp>
        <p:nvSpPr>
          <p:cNvPr id="360" name="Freeform: Shape 359">
            <a:extLst>
              <a:ext uri="{FF2B5EF4-FFF2-40B4-BE49-F238E27FC236}">
                <a16:creationId xmlns:a16="http://schemas.microsoft.com/office/drawing/2014/main" id="{D04925EF-FC16-4B37-AEC5-9CDF20E30E3E}"/>
              </a:ext>
            </a:extLst>
          </p:cNvPr>
          <p:cNvSpPr/>
          <p:nvPr/>
        </p:nvSpPr>
        <p:spPr>
          <a:xfrm>
            <a:off x="387301" y="3201567"/>
            <a:ext cx="5413259" cy="1714332"/>
          </a:xfrm>
          <a:custGeom>
            <a:avLst/>
            <a:gdLst>
              <a:gd name="connsiteX0" fmla="*/ 5429250 w 5429250"/>
              <a:gd name="connsiteY0" fmla="*/ 0 h 1676400"/>
              <a:gd name="connsiteX1" fmla="*/ 3752850 w 5429250"/>
              <a:gd name="connsiteY1" fmla="*/ 1676400 h 1676400"/>
              <a:gd name="connsiteX2" fmla="*/ 0 w 5429250"/>
              <a:gd name="connsiteY2" fmla="*/ 1676400 h 1676400"/>
            </a:gdLst>
            <a:ahLst/>
            <a:cxnLst>
              <a:cxn ang="0">
                <a:pos x="connsiteX0" y="connsiteY0"/>
              </a:cxn>
              <a:cxn ang="0">
                <a:pos x="connsiteX1" y="connsiteY1"/>
              </a:cxn>
              <a:cxn ang="0">
                <a:pos x="connsiteX2" y="connsiteY2"/>
              </a:cxn>
            </a:cxnLst>
            <a:rect l="l" t="t" r="r" b="b"/>
            <a:pathLst>
              <a:path w="5429250" h="1676400">
                <a:moveTo>
                  <a:pt x="5429250" y="0"/>
                </a:moveTo>
                <a:lnTo>
                  <a:pt x="3752850" y="1676400"/>
                </a:lnTo>
                <a:lnTo>
                  <a:pt x="0" y="167640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61" name="TextBox 360">
            <a:extLst>
              <a:ext uri="{FF2B5EF4-FFF2-40B4-BE49-F238E27FC236}">
                <a16:creationId xmlns:a16="http://schemas.microsoft.com/office/drawing/2014/main" id="{3E104122-9847-411D-A3E7-4AC3505FDFAC}"/>
              </a:ext>
            </a:extLst>
          </p:cNvPr>
          <p:cNvSpPr txBox="1"/>
          <p:nvPr/>
        </p:nvSpPr>
        <p:spPr>
          <a:xfrm>
            <a:off x="443336" y="4622411"/>
            <a:ext cx="817109" cy="246221"/>
          </a:xfrm>
          <a:prstGeom prst="rect">
            <a:avLst/>
          </a:prstGeom>
          <a:noFill/>
        </p:spPr>
        <p:txBody>
          <a:bodyPr wrap="square" lIns="0" tIns="0" rIns="0" bIns="0" rtlCol="0" anchor="b">
            <a:spAutoFit/>
          </a:bodyPr>
          <a:lstStyle/>
          <a:p>
            <a:pPr defTabSz="1219140">
              <a:buSzPct val="100000"/>
              <a:defRPr/>
            </a:pPr>
            <a:r>
              <a:rPr lang="en-US" sz="1600">
                <a:solidFill>
                  <a:schemeClr val="accent1"/>
                </a:solidFill>
              </a:rPr>
              <a:t>France</a:t>
            </a:r>
          </a:p>
        </p:txBody>
      </p:sp>
      <p:sp>
        <p:nvSpPr>
          <p:cNvPr id="362" name="TextBox 361">
            <a:extLst>
              <a:ext uri="{FF2B5EF4-FFF2-40B4-BE49-F238E27FC236}">
                <a16:creationId xmlns:a16="http://schemas.microsoft.com/office/drawing/2014/main" id="{A9D3DACA-4182-49C3-B6D4-57BFBEE5AC1E}"/>
              </a:ext>
            </a:extLst>
          </p:cNvPr>
          <p:cNvSpPr txBox="1"/>
          <p:nvPr/>
        </p:nvSpPr>
        <p:spPr>
          <a:xfrm>
            <a:off x="443336" y="4982564"/>
            <a:ext cx="817109" cy="246221"/>
          </a:xfrm>
          <a:prstGeom prst="rect">
            <a:avLst/>
          </a:prstGeom>
          <a:noFill/>
        </p:spPr>
        <p:txBody>
          <a:bodyPr wrap="square" lIns="0" tIns="0" rIns="0" bIns="0" rtlCol="0">
            <a:spAutoFit/>
          </a:bodyPr>
          <a:lstStyle/>
          <a:p>
            <a:pPr defTabSz="1219140">
              <a:buSzPct val="100000"/>
              <a:defRPr/>
            </a:pPr>
            <a:r>
              <a:rPr lang="en-US" sz="1600" b="1">
                <a:solidFill>
                  <a:schemeClr val="accent1"/>
                </a:solidFill>
              </a:rPr>
              <a:t>$43B</a:t>
            </a:r>
          </a:p>
        </p:txBody>
      </p:sp>
      <p:sp>
        <p:nvSpPr>
          <p:cNvPr id="363" name="Freeform: Shape 362">
            <a:extLst>
              <a:ext uri="{FF2B5EF4-FFF2-40B4-BE49-F238E27FC236}">
                <a16:creationId xmlns:a16="http://schemas.microsoft.com/office/drawing/2014/main" id="{A66A56D2-9D4A-4A89-B720-41736BFC1F41}"/>
              </a:ext>
            </a:extLst>
          </p:cNvPr>
          <p:cNvSpPr/>
          <p:nvPr/>
        </p:nvSpPr>
        <p:spPr>
          <a:xfrm flipV="1">
            <a:off x="5939832" y="3061127"/>
            <a:ext cx="46753" cy="2627519"/>
          </a:xfrm>
          <a:custGeom>
            <a:avLst/>
            <a:gdLst>
              <a:gd name="connsiteX0" fmla="*/ 0 w 0"/>
              <a:gd name="connsiteY0" fmla="*/ 944880 h 944880"/>
              <a:gd name="connsiteX1" fmla="*/ 0 w 0"/>
              <a:gd name="connsiteY1" fmla="*/ 0 h 944880"/>
            </a:gdLst>
            <a:ahLst/>
            <a:cxnLst>
              <a:cxn ang="0">
                <a:pos x="connsiteX0" y="connsiteY0"/>
              </a:cxn>
              <a:cxn ang="0">
                <a:pos x="connsiteX1" y="connsiteY1"/>
              </a:cxn>
            </a:cxnLst>
            <a:rect l="l" t="t" r="r" b="b"/>
            <a:pathLst>
              <a:path h="944880">
                <a:moveTo>
                  <a:pt x="0" y="944880"/>
                </a:move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66" name="TextBox 365">
            <a:extLst>
              <a:ext uri="{FF2B5EF4-FFF2-40B4-BE49-F238E27FC236}">
                <a16:creationId xmlns:a16="http://schemas.microsoft.com/office/drawing/2014/main" id="{4E10431C-9EF2-4A21-B844-65B3FFBA7704}"/>
              </a:ext>
            </a:extLst>
          </p:cNvPr>
          <p:cNvSpPr txBox="1"/>
          <p:nvPr/>
        </p:nvSpPr>
        <p:spPr>
          <a:xfrm>
            <a:off x="4906502" y="5446153"/>
            <a:ext cx="984796" cy="276999"/>
          </a:xfrm>
          <a:prstGeom prst="rect">
            <a:avLst/>
          </a:prstGeom>
          <a:noFill/>
        </p:spPr>
        <p:txBody>
          <a:bodyPr wrap="square" lIns="0" tIns="0" rIns="0" bIns="0" rtlCol="0" anchor="b">
            <a:spAutoFit/>
          </a:bodyPr>
          <a:lstStyle/>
          <a:p>
            <a:pPr algn="r" defTabSz="1219140">
              <a:buSzPct val="100000"/>
              <a:defRPr/>
            </a:pPr>
            <a:r>
              <a:rPr lang="pl-PL">
                <a:solidFill>
                  <a:schemeClr val="accent1"/>
                </a:solidFill>
              </a:rPr>
              <a:t>Germany</a:t>
            </a:r>
            <a:endParaRPr lang="en-US">
              <a:solidFill>
                <a:schemeClr val="accent1"/>
              </a:solidFill>
            </a:endParaRPr>
          </a:p>
        </p:txBody>
      </p:sp>
      <p:sp>
        <p:nvSpPr>
          <p:cNvPr id="367" name="TextBox 366">
            <a:extLst>
              <a:ext uri="{FF2B5EF4-FFF2-40B4-BE49-F238E27FC236}">
                <a16:creationId xmlns:a16="http://schemas.microsoft.com/office/drawing/2014/main" id="{FD9DC871-CB6E-4B64-A254-270ECE991E47}"/>
              </a:ext>
            </a:extLst>
          </p:cNvPr>
          <p:cNvSpPr txBox="1"/>
          <p:nvPr/>
        </p:nvSpPr>
        <p:spPr>
          <a:xfrm>
            <a:off x="6079115" y="5446153"/>
            <a:ext cx="803197" cy="276999"/>
          </a:xfrm>
          <a:prstGeom prst="rect">
            <a:avLst/>
          </a:prstGeom>
          <a:noFill/>
        </p:spPr>
        <p:txBody>
          <a:bodyPr wrap="square" lIns="0" tIns="0" rIns="0" bIns="0" rtlCol="0" anchor="b">
            <a:spAutoFit/>
          </a:bodyPr>
          <a:lstStyle/>
          <a:p>
            <a:pPr defTabSz="1219140">
              <a:buSzPct val="100000"/>
              <a:defRPr/>
            </a:pPr>
            <a:r>
              <a:rPr lang="en-US" b="1">
                <a:solidFill>
                  <a:schemeClr val="accent1"/>
                </a:solidFill>
              </a:rPr>
              <a:t>$74</a:t>
            </a:r>
            <a:r>
              <a:rPr lang="en-US" sz="1700" b="1">
                <a:solidFill>
                  <a:schemeClr val="accent1"/>
                </a:solidFill>
              </a:rPr>
              <a:t>B</a:t>
            </a:r>
          </a:p>
        </p:txBody>
      </p:sp>
      <p:sp>
        <p:nvSpPr>
          <p:cNvPr id="368" name="TextBox 367">
            <a:extLst>
              <a:ext uri="{FF2B5EF4-FFF2-40B4-BE49-F238E27FC236}">
                <a16:creationId xmlns:a16="http://schemas.microsoft.com/office/drawing/2014/main" id="{8B90BB1C-3DED-40E0-800B-AD210B3DA4DC}"/>
              </a:ext>
            </a:extLst>
          </p:cNvPr>
          <p:cNvSpPr txBox="1"/>
          <p:nvPr/>
        </p:nvSpPr>
        <p:spPr>
          <a:xfrm flipH="1">
            <a:off x="10454280" y="1472710"/>
            <a:ext cx="1300050" cy="246221"/>
          </a:xfrm>
          <a:prstGeom prst="rect">
            <a:avLst/>
          </a:prstGeom>
          <a:noFill/>
        </p:spPr>
        <p:txBody>
          <a:bodyPr wrap="square" lIns="0" tIns="0" rIns="0" bIns="0" rtlCol="0" anchor="b">
            <a:spAutoFit/>
          </a:bodyPr>
          <a:lstStyle/>
          <a:p>
            <a:pPr algn="r" defTabSz="1219140">
              <a:buSzPct val="100000"/>
              <a:defRPr/>
            </a:pPr>
            <a:r>
              <a:rPr lang="en-US" sz="1600">
                <a:solidFill>
                  <a:schemeClr val="accent1"/>
                </a:solidFill>
              </a:rPr>
              <a:t>Russia</a:t>
            </a:r>
          </a:p>
        </p:txBody>
      </p:sp>
      <p:sp>
        <p:nvSpPr>
          <p:cNvPr id="369" name="TextBox 368">
            <a:extLst>
              <a:ext uri="{FF2B5EF4-FFF2-40B4-BE49-F238E27FC236}">
                <a16:creationId xmlns:a16="http://schemas.microsoft.com/office/drawing/2014/main" id="{3C4715C3-5C9D-4B8E-AFF0-8BFE64BF6DA6}"/>
              </a:ext>
            </a:extLst>
          </p:cNvPr>
          <p:cNvSpPr txBox="1"/>
          <p:nvPr/>
        </p:nvSpPr>
        <p:spPr>
          <a:xfrm flipH="1">
            <a:off x="10454280" y="1819616"/>
            <a:ext cx="1300050" cy="246221"/>
          </a:xfrm>
          <a:prstGeom prst="rect">
            <a:avLst/>
          </a:prstGeom>
          <a:noFill/>
        </p:spPr>
        <p:txBody>
          <a:bodyPr wrap="square" lIns="0" tIns="0" rIns="0" bIns="0" rtlCol="0">
            <a:spAutoFit/>
          </a:bodyPr>
          <a:lstStyle/>
          <a:p>
            <a:pPr algn="r" defTabSz="1219140">
              <a:buSzPct val="100000"/>
              <a:defRPr/>
            </a:pPr>
            <a:r>
              <a:rPr lang="en-US" sz="1600" b="1">
                <a:solidFill>
                  <a:schemeClr val="accent1"/>
                </a:solidFill>
              </a:rPr>
              <a:t>$19B</a:t>
            </a:r>
          </a:p>
        </p:txBody>
      </p:sp>
      <p:sp>
        <p:nvSpPr>
          <p:cNvPr id="370" name="Freeform: Shape 369">
            <a:extLst>
              <a:ext uri="{FF2B5EF4-FFF2-40B4-BE49-F238E27FC236}">
                <a16:creationId xmlns:a16="http://schemas.microsoft.com/office/drawing/2014/main" id="{F8C9D32F-9C77-445A-9947-1079C777264C}"/>
              </a:ext>
            </a:extLst>
          </p:cNvPr>
          <p:cNvSpPr/>
          <p:nvPr/>
        </p:nvSpPr>
        <p:spPr>
          <a:xfrm>
            <a:off x="7731842" y="1733351"/>
            <a:ext cx="4074235" cy="929241"/>
          </a:xfrm>
          <a:custGeom>
            <a:avLst/>
            <a:gdLst>
              <a:gd name="connsiteX0" fmla="*/ 4105275 w 4105275"/>
              <a:gd name="connsiteY0" fmla="*/ 0 h 457200"/>
              <a:gd name="connsiteX1" fmla="*/ 457200 w 4105275"/>
              <a:gd name="connsiteY1" fmla="*/ 0 h 457200"/>
              <a:gd name="connsiteX2" fmla="*/ 0 w 4105275"/>
              <a:gd name="connsiteY2" fmla="*/ 457200 h 457200"/>
            </a:gdLst>
            <a:ahLst/>
            <a:cxnLst>
              <a:cxn ang="0">
                <a:pos x="connsiteX0" y="connsiteY0"/>
              </a:cxn>
              <a:cxn ang="0">
                <a:pos x="connsiteX1" y="connsiteY1"/>
              </a:cxn>
              <a:cxn ang="0">
                <a:pos x="connsiteX2" y="connsiteY2"/>
              </a:cxn>
            </a:cxnLst>
            <a:rect l="l" t="t" r="r" b="b"/>
            <a:pathLst>
              <a:path w="4105275" h="457200">
                <a:moveTo>
                  <a:pt x="4105275" y="0"/>
                </a:moveTo>
                <a:lnTo>
                  <a:pt x="457200" y="0"/>
                </a:lnTo>
                <a:lnTo>
                  <a:pt x="0" y="457200"/>
                </a:lnTo>
              </a:path>
            </a:pathLst>
          </a:custGeom>
          <a:noFill/>
          <a:ln w="3175">
            <a:solidFill>
              <a:schemeClr val="accent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4" name="TextBox 3">
            <a:extLst>
              <a:ext uri="{FF2B5EF4-FFF2-40B4-BE49-F238E27FC236}">
                <a16:creationId xmlns:a16="http://schemas.microsoft.com/office/drawing/2014/main" id="{748F83E4-CECE-427B-BC7E-AC91C26D70EF}"/>
              </a:ext>
            </a:extLst>
          </p:cNvPr>
          <p:cNvSpPr txBox="1"/>
          <p:nvPr/>
        </p:nvSpPr>
        <p:spPr>
          <a:xfrm>
            <a:off x="415310" y="6056984"/>
            <a:ext cx="8197953" cy="646331"/>
          </a:xfrm>
          <a:prstGeom prst="rect">
            <a:avLst/>
          </a:prstGeom>
          <a:noFill/>
        </p:spPr>
        <p:txBody>
          <a:bodyPr wrap="square" rtlCol="0">
            <a:spAutoFit/>
          </a:bodyPr>
          <a:lstStyle/>
          <a:p>
            <a:r>
              <a:rPr lang="en-US" sz="1200">
                <a:solidFill>
                  <a:schemeClr val="tx1">
                    <a:lumMod val="75000"/>
                    <a:lumOff val="25000"/>
                  </a:schemeClr>
                </a:solidFill>
              </a:rPr>
              <a:t>Source: Statista </a:t>
            </a:r>
          </a:p>
          <a:p>
            <a:r>
              <a:rPr lang="en-US" sz="1200">
                <a:solidFill>
                  <a:schemeClr val="tx1">
                    <a:lumMod val="75000"/>
                    <a:lumOff val="25000"/>
                  </a:schemeClr>
                </a:solidFill>
              </a:rPr>
              <a:t>* Figures currently including services, already identified source for potentially excluding services, at sales levels, potential to include share of the top-50 players by country</a:t>
            </a:r>
            <a:endParaRPr lang="en-US" sz="1200"/>
          </a:p>
        </p:txBody>
      </p:sp>
    </p:spTree>
    <p:extLst>
      <p:ext uri="{BB962C8B-B14F-4D97-AF65-F5344CB8AC3E}">
        <p14:creationId xmlns:p14="http://schemas.microsoft.com/office/powerpoint/2010/main" val="775591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0" name="Group 659">
            <a:extLst>
              <a:ext uri="{FF2B5EF4-FFF2-40B4-BE49-F238E27FC236}">
                <a16:creationId xmlns:a16="http://schemas.microsoft.com/office/drawing/2014/main" id="{316AF818-94AE-473F-82C3-69776942EA6E}"/>
              </a:ext>
            </a:extLst>
          </p:cNvPr>
          <p:cNvGrpSpPr/>
          <p:nvPr/>
        </p:nvGrpSpPr>
        <p:grpSpPr>
          <a:xfrm>
            <a:off x="2617911" y="1918851"/>
            <a:ext cx="6683761" cy="3786816"/>
            <a:chOff x="2617911" y="1918851"/>
            <a:chExt cx="6683761" cy="3786816"/>
          </a:xfrm>
        </p:grpSpPr>
        <p:grpSp>
          <p:nvGrpSpPr>
            <p:cNvPr id="661" name="Group 660">
              <a:extLst>
                <a:ext uri="{FF2B5EF4-FFF2-40B4-BE49-F238E27FC236}">
                  <a16:creationId xmlns:a16="http://schemas.microsoft.com/office/drawing/2014/main" id="{F9C684C9-2B8D-4C8F-9F2A-28375E985423}"/>
                </a:ext>
              </a:extLst>
            </p:cNvPr>
            <p:cNvGrpSpPr/>
            <p:nvPr/>
          </p:nvGrpSpPr>
          <p:grpSpPr>
            <a:xfrm>
              <a:off x="2617911" y="1939610"/>
              <a:ext cx="2477612" cy="3766057"/>
              <a:chOff x="2617911" y="1939610"/>
              <a:chExt cx="2477612" cy="3766057"/>
            </a:xfrm>
          </p:grpSpPr>
          <p:sp>
            <p:nvSpPr>
              <p:cNvPr id="885" name="Freeform 5">
                <a:extLst>
                  <a:ext uri="{FF2B5EF4-FFF2-40B4-BE49-F238E27FC236}">
                    <a16:creationId xmlns:a16="http://schemas.microsoft.com/office/drawing/2014/main" id="{23AEBCD7-986A-472F-A990-F3F76B711E48}"/>
                  </a:ext>
                </a:extLst>
              </p:cNvPr>
              <p:cNvSpPr>
                <a:spLocks/>
              </p:cNvSpPr>
              <p:nvPr/>
            </p:nvSpPr>
            <p:spPr bwMode="auto">
              <a:xfrm>
                <a:off x="4362352" y="3297540"/>
                <a:ext cx="42136" cy="20760"/>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86" name="Freeform 14">
                <a:extLst>
                  <a:ext uri="{FF2B5EF4-FFF2-40B4-BE49-F238E27FC236}">
                    <a16:creationId xmlns:a16="http://schemas.microsoft.com/office/drawing/2014/main" id="{80018858-B90E-4E8B-B7F9-99F0921AAFFB}"/>
                  </a:ext>
                </a:extLst>
              </p:cNvPr>
              <p:cNvSpPr>
                <a:spLocks/>
              </p:cNvSpPr>
              <p:nvPr/>
            </p:nvSpPr>
            <p:spPr bwMode="auto">
              <a:xfrm>
                <a:off x="3565374" y="3514906"/>
                <a:ext cx="565830" cy="443281"/>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solidFill>
                <a:schemeClr val="accent2"/>
              </a:solidFill>
              <a:ln w="3175" cmpd="sng">
                <a:solidFill>
                  <a:schemeClr val="bg1"/>
                </a:solidFill>
                <a:round/>
                <a:headEnd/>
                <a:tailEnd/>
              </a:ln>
            </p:spPr>
            <p:style>
              <a:lnRef idx="1">
                <a:schemeClr val="accent4"/>
              </a:lnRef>
              <a:fillRef idx="0">
                <a:schemeClr val="accent4"/>
              </a:fillRef>
              <a:effectRef idx="0">
                <a:schemeClr val="accent4"/>
              </a:effectRef>
              <a:fontRef idx="minor">
                <a:schemeClr val="tx1"/>
              </a:fontRef>
            </p:style>
            <p:txBody>
              <a:bodyPr/>
              <a:lstStyle/>
              <a:p>
                <a:endParaRPr lang="en-GB" sz="1539">
                  <a:solidFill>
                    <a:schemeClr val="accent1"/>
                  </a:solidFill>
                </a:endParaRPr>
              </a:p>
            </p:txBody>
          </p:sp>
          <p:sp>
            <p:nvSpPr>
              <p:cNvPr id="887" name="Freeform 15">
                <a:extLst>
                  <a:ext uri="{FF2B5EF4-FFF2-40B4-BE49-F238E27FC236}">
                    <a16:creationId xmlns:a16="http://schemas.microsoft.com/office/drawing/2014/main" id="{1AD7A5CD-10C5-4AF1-8940-B9A67B09C8B5}"/>
                  </a:ext>
                </a:extLst>
              </p:cNvPr>
              <p:cNvSpPr>
                <a:spLocks/>
              </p:cNvSpPr>
              <p:nvPr/>
            </p:nvSpPr>
            <p:spPr bwMode="auto">
              <a:xfrm>
                <a:off x="4084253" y="3862936"/>
                <a:ext cx="20466" cy="62279"/>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88" name="Freeform 16">
                <a:extLst>
                  <a:ext uri="{FF2B5EF4-FFF2-40B4-BE49-F238E27FC236}">
                    <a16:creationId xmlns:a16="http://schemas.microsoft.com/office/drawing/2014/main" id="{78AEB75F-98CA-4A3B-958D-5AF3C14271B0}"/>
                  </a:ext>
                </a:extLst>
              </p:cNvPr>
              <p:cNvSpPr>
                <a:spLocks/>
              </p:cNvSpPr>
              <p:nvPr/>
            </p:nvSpPr>
            <p:spPr bwMode="auto">
              <a:xfrm>
                <a:off x="4441809" y="4515035"/>
                <a:ext cx="238371" cy="319944"/>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89" name="Freeform 17">
                <a:extLst>
                  <a:ext uri="{FF2B5EF4-FFF2-40B4-BE49-F238E27FC236}">
                    <a16:creationId xmlns:a16="http://schemas.microsoft.com/office/drawing/2014/main" id="{E7357763-233F-4E46-81B1-0486EFF4156D}"/>
                  </a:ext>
                </a:extLst>
              </p:cNvPr>
              <p:cNvSpPr>
                <a:spLocks/>
              </p:cNvSpPr>
              <p:nvPr/>
            </p:nvSpPr>
            <p:spPr bwMode="auto">
              <a:xfrm>
                <a:off x="4576645" y="4742171"/>
                <a:ext cx="156506" cy="211261"/>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0" name="Freeform 18">
                <a:extLst>
                  <a:ext uri="{FF2B5EF4-FFF2-40B4-BE49-F238E27FC236}">
                    <a16:creationId xmlns:a16="http://schemas.microsoft.com/office/drawing/2014/main" id="{7BE2DCA7-DD5C-4B8A-AE15-7DDA12458171}"/>
                  </a:ext>
                </a:extLst>
              </p:cNvPr>
              <p:cNvSpPr>
                <a:spLocks/>
              </p:cNvSpPr>
              <p:nvPr/>
            </p:nvSpPr>
            <p:spPr bwMode="auto">
              <a:xfrm>
                <a:off x="4648878" y="5004720"/>
                <a:ext cx="108351" cy="130664"/>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1" name="Freeform 19">
                <a:extLst>
                  <a:ext uri="{FF2B5EF4-FFF2-40B4-BE49-F238E27FC236}">
                    <a16:creationId xmlns:a16="http://schemas.microsoft.com/office/drawing/2014/main" id="{318836B9-5A6D-4FCD-B4B1-D5845FC10D15}"/>
                  </a:ext>
                </a:extLst>
              </p:cNvPr>
              <p:cNvSpPr>
                <a:spLocks/>
              </p:cNvSpPr>
              <p:nvPr/>
            </p:nvSpPr>
            <p:spPr bwMode="auto">
              <a:xfrm>
                <a:off x="4223904" y="4294006"/>
                <a:ext cx="240779" cy="428627"/>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2" name="Freeform 20">
                <a:extLst>
                  <a:ext uri="{FF2B5EF4-FFF2-40B4-BE49-F238E27FC236}">
                    <a16:creationId xmlns:a16="http://schemas.microsoft.com/office/drawing/2014/main" id="{AB4A43B6-8DFF-4A77-B140-9ECD5AB67FC6}"/>
                  </a:ext>
                </a:extLst>
              </p:cNvPr>
              <p:cNvSpPr>
                <a:spLocks/>
              </p:cNvSpPr>
              <p:nvPr/>
            </p:nvSpPr>
            <p:spPr bwMode="auto">
              <a:xfrm>
                <a:off x="4266040" y="4005813"/>
                <a:ext cx="231148" cy="388329"/>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3" name="Freeform 21">
                <a:extLst>
                  <a:ext uri="{FF2B5EF4-FFF2-40B4-BE49-F238E27FC236}">
                    <a16:creationId xmlns:a16="http://schemas.microsoft.com/office/drawing/2014/main" id="{4EFCF22A-EE14-45ED-A335-1CA87BB277ED}"/>
                  </a:ext>
                </a:extLst>
              </p:cNvPr>
              <p:cNvSpPr>
                <a:spLocks/>
              </p:cNvSpPr>
              <p:nvPr/>
            </p:nvSpPr>
            <p:spPr bwMode="auto">
              <a:xfrm>
                <a:off x="4374391" y="4003370"/>
                <a:ext cx="258837" cy="279645"/>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4" name="Freeform 22">
                <a:extLst>
                  <a:ext uri="{FF2B5EF4-FFF2-40B4-BE49-F238E27FC236}">
                    <a16:creationId xmlns:a16="http://schemas.microsoft.com/office/drawing/2014/main" id="{F43948AC-B272-4792-A32C-3B49795C2A2E}"/>
                  </a:ext>
                </a:extLst>
              </p:cNvPr>
              <p:cNvSpPr>
                <a:spLocks/>
              </p:cNvSpPr>
              <p:nvPr/>
            </p:nvSpPr>
            <p:spPr bwMode="auto">
              <a:xfrm>
                <a:off x="4586277" y="4097399"/>
                <a:ext cx="102331" cy="175847"/>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5" name="Freeform 23">
                <a:extLst>
                  <a:ext uri="{FF2B5EF4-FFF2-40B4-BE49-F238E27FC236}">
                    <a16:creationId xmlns:a16="http://schemas.microsoft.com/office/drawing/2014/main" id="{495F354B-FEF6-4968-936D-2F8EF839F70F}"/>
                  </a:ext>
                </a:extLst>
              </p:cNvPr>
              <p:cNvSpPr>
                <a:spLocks/>
              </p:cNvSpPr>
              <p:nvPr/>
            </p:nvSpPr>
            <p:spPr bwMode="auto">
              <a:xfrm>
                <a:off x="4658510" y="4154794"/>
                <a:ext cx="77049" cy="103799"/>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6" name="Freeform 24">
                <a:extLst>
                  <a:ext uri="{FF2B5EF4-FFF2-40B4-BE49-F238E27FC236}">
                    <a16:creationId xmlns:a16="http://schemas.microsoft.com/office/drawing/2014/main" id="{C0E1845E-3346-4C54-A062-FAA5ED300547}"/>
                  </a:ext>
                </a:extLst>
              </p:cNvPr>
              <p:cNvSpPr>
                <a:spLocks/>
              </p:cNvSpPr>
              <p:nvPr/>
            </p:nvSpPr>
            <p:spPr bwMode="auto">
              <a:xfrm>
                <a:off x="4725928" y="4164563"/>
                <a:ext cx="54175" cy="85481"/>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7" name="Freeform 25">
                <a:extLst>
                  <a:ext uri="{FF2B5EF4-FFF2-40B4-BE49-F238E27FC236}">
                    <a16:creationId xmlns:a16="http://schemas.microsoft.com/office/drawing/2014/main" id="{C991CE7D-328E-4B9F-B54E-B977A4240874}"/>
                  </a:ext>
                </a:extLst>
              </p:cNvPr>
              <p:cNvSpPr>
                <a:spLocks/>
              </p:cNvSpPr>
              <p:nvPr/>
            </p:nvSpPr>
            <p:spPr bwMode="auto">
              <a:xfrm>
                <a:off x="4143243" y="4033899"/>
                <a:ext cx="62603" cy="75712"/>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8" name="Freeform 26">
                <a:extLst>
                  <a:ext uri="{FF2B5EF4-FFF2-40B4-BE49-F238E27FC236}">
                    <a16:creationId xmlns:a16="http://schemas.microsoft.com/office/drawing/2014/main" id="{662C5C00-4492-4338-85BC-C7086DE6AF12}"/>
                  </a:ext>
                </a:extLst>
              </p:cNvPr>
              <p:cNvSpPr>
                <a:spLocks/>
              </p:cNvSpPr>
              <p:nvPr/>
            </p:nvSpPr>
            <p:spPr bwMode="auto">
              <a:xfrm>
                <a:off x="4109534" y="3945975"/>
                <a:ext cx="84273" cy="105020"/>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899" name="Freeform 27">
                <a:extLst>
                  <a:ext uri="{FF2B5EF4-FFF2-40B4-BE49-F238E27FC236}">
                    <a16:creationId xmlns:a16="http://schemas.microsoft.com/office/drawing/2014/main" id="{18A5B4C0-8675-454B-A2D8-8737D9EF428B}"/>
                  </a:ext>
                </a:extLst>
              </p:cNvPr>
              <p:cNvSpPr>
                <a:spLocks/>
              </p:cNvSpPr>
              <p:nvPr/>
            </p:nvSpPr>
            <p:spPr bwMode="auto">
              <a:xfrm>
                <a:off x="4077029" y="3922773"/>
                <a:ext cx="116778" cy="73269"/>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00" name="Freeform 28">
                <a:extLst>
                  <a:ext uri="{FF2B5EF4-FFF2-40B4-BE49-F238E27FC236}">
                    <a16:creationId xmlns:a16="http://schemas.microsoft.com/office/drawing/2014/main" id="{8A0923BC-B9BB-4C95-80B2-589953FC2C7D}"/>
                  </a:ext>
                </a:extLst>
              </p:cNvPr>
              <p:cNvSpPr>
                <a:spLocks/>
              </p:cNvSpPr>
              <p:nvPr/>
            </p:nvSpPr>
            <p:spPr bwMode="auto">
              <a:xfrm>
                <a:off x="4066194" y="3963071"/>
                <a:ext cx="45748" cy="28086"/>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01" name="Freeform 29">
                <a:extLst>
                  <a:ext uri="{FF2B5EF4-FFF2-40B4-BE49-F238E27FC236}">
                    <a16:creationId xmlns:a16="http://schemas.microsoft.com/office/drawing/2014/main" id="{4B1F7B71-859C-4CA4-B042-730A4BE9990F}"/>
                  </a:ext>
                </a:extLst>
              </p:cNvPr>
              <p:cNvSpPr>
                <a:spLocks/>
              </p:cNvSpPr>
              <p:nvPr/>
            </p:nvSpPr>
            <p:spPr bwMode="auto">
              <a:xfrm>
                <a:off x="4027669" y="3882475"/>
                <a:ext cx="71030" cy="95250"/>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02" name="Freeform 30">
                <a:extLst>
                  <a:ext uri="{FF2B5EF4-FFF2-40B4-BE49-F238E27FC236}">
                    <a16:creationId xmlns:a16="http://schemas.microsoft.com/office/drawing/2014/main" id="{0807219B-64FE-4864-95B0-38F85900667D}"/>
                  </a:ext>
                </a:extLst>
              </p:cNvPr>
              <p:cNvSpPr>
                <a:spLocks/>
              </p:cNvSpPr>
              <p:nvPr/>
            </p:nvSpPr>
            <p:spPr bwMode="auto">
              <a:xfrm>
                <a:off x="4231128" y="4263476"/>
                <a:ext cx="109554" cy="151423"/>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03" name="Freeform 31">
                <a:extLst>
                  <a:ext uri="{FF2B5EF4-FFF2-40B4-BE49-F238E27FC236}">
                    <a16:creationId xmlns:a16="http://schemas.microsoft.com/office/drawing/2014/main" id="{8E6D392B-B1EF-4877-B594-3518767E6405}"/>
                  </a:ext>
                </a:extLst>
              </p:cNvPr>
              <p:cNvSpPr>
                <a:spLocks/>
              </p:cNvSpPr>
              <p:nvPr/>
            </p:nvSpPr>
            <p:spPr bwMode="auto">
              <a:xfrm>
                <a:off x="4039709" y="4290342"/>
                <a:ext cx="14446" cy="32972"/>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4" name="Freeform 33">
                <a:extLst>
                  <a:ext uri="{FF2B5EF4-FFF2-40B4-BE49-F238E27FC236}">
                    <a16:creationId xmlns:a16="http://schemas.microsoft.com/office/drawing/2014/main" id="{B0FF701C-D823-41D5-AA8E-B897D91D53AA}"/>
                  </a:ext>
                </a:extLst>
              </p:cNvPr>
              <p:cNvSpPr>
                <a:spLocks/>
              </p:cNvSpPr>
              <p:nvPr/>
            </p:nvSpPr>
            <p:spPr bwMode="auto">
              <a:xfrm>
                <a:off x="4072214" y="4311102"/>
                <a:ext cx="7224" cy="7326"/>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5" name="Freeform 34">
                <a:extLst>
                  <a:ext uri="{FF2B5EF4-FFF2-40B4-BE49-F238E27FC236}">
                    <a16:creationId xmlns:a16="http://schemas.microsoft.com/office/drawing/2014/main" id="{351F4DE1-B866-42FA-8BF4-023A24478D08}"/>
                  </a:ext>
                </a:extLst>
              </p:cNvPr>
              <p:cNvSpPr>
                <a:spLocks/>
              </p:cNvSpPr>
              <p:nvPr/>
            </p:nvSpPr>
            <p:spPr bwMode="auto">
              <a:xfrm>
                <a:off x="4054155" y="4296448"/>
                <a:ext cx="7224" cy="12212"/>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6" name="Freeform 35">
                <a:extLst>
                  <a:ext uri="{FF2B5EF4-FFF2-40B4-BE49-F238E27FC236}">
                    <a16:creationId xmlns:a16="http://schemas.microsoft.com/office/drawing/2014/main" id="{296C0B11-00A2-4A4D-88EE-33C884414AB2}"/>
                  </a:ext>
                </a:extLst>
              </p:cNvPr>
              <p:cNvSpPr>
                <a:spLocks/>
              </p:cNvSpPr>
              <p:nvPr/>
            </p:nvSpPr>
            <p:spPr bwMode="auto">
              <a:xfrm>
                <a:off x="4034893" y="4301332"/>
                <a:ext cx="12039" cy="7326"/>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7" name="Freeform 36">
                <a:extLst>
                  <a:ext uri="{FF2B5EF4-FFF2-40B4-BE49-F238E27FC236}">
                    <a16:creationId xmlns:a16="http://schemas.microsoft.com/office/drawing/2014/main" id="{E58B4AF1-318E-4018-BBE6-FCA5D045717F}"/>
                  </a:ext>
                </a:extLst>
              </p:cNvPr>
              <p:cNvSpPr>
                <a:spLocks/>
              </p:cNvSpPr>
              <p:nvPr/>
            </p:nvSpPr>
            <p:spPr bwMode="auto">
              <a:xfrm>
                <a:off x="4056564" y="4323314"/>
                <a:ext cx="7224" cy="7326"/>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8" name="Freeform 37">
                <a:extLst>
                  <a:ext uri="{FF2B5EF4-FFF2-40B4-BE49-F238E27FC236}">
                    <a16:creationId xmlns:a16="http://schemas.microsoft.com/office/drawing/2014/main" id="{8EC2DE1C-552F-4B32-ADF3-F830DAC8A264}"/>
                  </a:ext>
                </a:extLst>
              </p:cNvPr>
              <p:cNvSpPr>
                <a:spLocks/>
              </p:cNvSpPr>
              <p:nvPr/>
            </p:nvSpPr>
            <p:spPr bwMode="auto">
              <a:xfrm>
                <a:off x="4056564" y="4287900"/>
                <a:ext cx="4815" cy="2442"/>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09" name="Freeform 38">
                <a:extLst>
                  <a:ext uri="{FF2B5EF4-FFF2-40B4-BE49-F238E27FC236}">
                    <a16:creationId xmlns:a16="http://schemas.microsoft.com/office/drawing/2014/main" id="{7C0E90CB-2F1A-497B-BB5D-30A229027882}"/>
                  </a:ext>
                </a:extLst>
              </p:cNvPr>
              <p:cNvSpPr>
                <a:spLocks/>
              </p:cNvSpPr>
              <p:nvPr/>
            </p:nvSpPr>
            <p:spPr bwMode="auto">
              <a:xfrm>
                <a:off x="4285303" y="3862936"/>
                <a:ext cx="42136" cy="21980"/>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10" name="Freeform 39">
                <a:extLst>
                  <a:ext uri="{FF2B5EF4-FFF2-40B4-BE49-F238E27FC236}">
                    <a16:creationId xmlns:a16="http://schemas.microsoft.com/office/drawing/2014/main" id="{39C1ED7E-058D-4693-925A-691BEF3F920A}"/>
                  </a:ext>
                </a:extLst>
              </p:cNvPr>
              <p:cNvSpPr>
                <a:spLocks/>
              </p:cNvSpPr>
              <p:nvPr/>
            </p:nvSpPr>
            <p:spPr bwMode="auto">
              <a:xfrm>
                <a:off x="4355129" y="3829965"/>
                <a:ext cx="56583" cy="52510"/>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11" name="Freeform 40">
                <a:extLst>
                  <a:ext uri="{FF2B5EF4-FFF2-40B4-BE49-F238E27FC236}">
                    <a16:creationId xmlns:a16="http://schemas.microsoft.com/office/drawing/2014/main" id="{7E9946B6-8966-4C66-860D-C7E8C40FD37F}"/>
                  </a:ext>
                </a:extLst>
              </p:cNvPr>
              <p:cNvSpPr>
                <a:spLocks/>
              </p:cNvSpPr>
              <p:nvPr/>
            </p:nvSpPr>
            <p:spPr bwMode="auto">
              <a:xfrm>
                <a:off x="4402080" y="3825081"/>
                <a:ext cx="69825" cy="64722"/>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12" name="Freeform 232">
                <a:extLst>
                  <a:ext uri="{FF2B5EF4-FFF2-40B4-BE49-F238E27FC236}">
                    <a16:creationId xmlns:a16="http://schemas.microsoft.com/office/drawing/2014/main" id="{7FC4DDA1-8EA5-4658-BE39-F7699B973FBC}"/>
                  </a:ext>
                </a:extLst>
              </p:cNvPr>
              <p:cNvSpPr>
                <a:spLocks noEditPoints="1"/>
              </p:cNvSpPr>
              <p:nvPr/>
            </p:nvSpPr>
            <p:spPr bwMode="auto">
              <a:xfrm>
                <a:off x="4329847" y="4701874"/>
                <a:ext cx="164933" cy="1003793"/>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13" name="Freeform 233">
                <a:extLst>
                  <a:ext uri="{FF2B5EF4-FFF2-40B4-BE49-F238E27FC236}">
                    <a16:creationId xmlns:a16="http://schemas.microsoft.com/office/drawing/2014/main" id="{D6194980-2F3C-4A54-ACC4-067FBDFA7C68}"/>
                  </a:ext>
                </a:extLst>
              </p:cNvPr>
              <p:cNvSpPr>
                <a:spLocks noEditPoints="1"/>
              </p:cNvSpPr>
              <p:nvPr/>
            </p:nvSpPr>
            <p:spPr bwMode="auto">
              <a:xfrm>
                <a:off x="4369575" y="4805672"/>
                <a:ext cx="373207" cy="884120"/>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14" name="Freeform 239">
                <a:extLst>
                  <a:ext uri="{FF2B5EF4-FFF2-40B4-BE49-F238E27FC236}">
                    <a16:creationId xmlns:a16="http://schemas.microsoft.com/office/drawing/2014/main" id="{B3FAF11F-F645-4172-97A8-BBAD80CD9445}"/>
                  </a:ext>
                </a:extLst>
              </p:cNvPr>
              <p:cNvSpPr>
                <a:spLocks noEditPoints="1"/>
              </p:cNvSpPr>
              <p:nvPr/>
            </p:nvSpPr>
            <p:spPr bwMode="auto">
              <a:xfrm>
                <a:off x="4270856" y="3660224"/>
                <a:ext cx="116778" cy="148982"/>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5" name="Freeform 240">
                <a:extLst>
                  <a:ext uri="{FF2B5EF4-FFF2-40B4-BE49-F238E27FC236}">
                    <a16:creationId xmlns:a16="http://schemas.microsoft.com/office/drawing/2014/main" id="{86B1FA92-7A47-4BE3-B21C-8F0369D932FE}"/>
                  </a:ext>
                </a:extLst>
              </p:cNvPr>
              <p:cNvSpPr>
                <a:spLocks noEditPoints="1"/>
              </p:cNvSpPr>
              <p:nvPr/>
            </p:nvSpPr>
            <p:spPr bwMode="auto">
              <a:xfrm>
                <a:off x="4163710" y="3749368"/>
                <a:ext cx="201051" cy="87924"/>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16" name="Freeform 241">
                <a:extLst>
                  <a:ext uri="{FF2B5EF4-FFF2-40B4-BE49-F238E27FC236}">
                    <a16:creationId xmlns:a16="http://schemas.microsoft.com/office/drawing/2014/main" id="{67ED09EC-77C1-4CDC-A3A5-83961D5DB843}"/>
                  </a:ext>
                </a:extLst>
              </p:cNvPr>
              <p:cNvSpPr>
                <a:spLocks/>
              </p:cNvSpPr>
              <p:nvPr/>
            </p:nvSpPr>
            <p:spPr bwMode="auto">
              <a:xfrm>
                <a:off x="4376799" y="3851946"/>
                <a:ext cx="10835" cy="7326"/>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7" name="Freeform 242">
                <a:extLst>
                  <a:ext uri="{FF2B5EF4-FFF2-40B4-BE49-F238E27FC236}">
                    <a16:creationId xmlns:a16="http://schemas.microsoft.com/office/drawing/2014/main" id="{62B11D67-2FC8-430E-AF47-F839A466D355}"/>
                  </a:ext>
                </a:extLst>
              </p:cNvPr>
              <p:cNvSpPr>
                <a:spLocks/>
              </p:cNvSpPr>
              <p:nvPr/>
            </p:nvSpPr>
            <p:spPr bwMode="auto">
              <a:xfrm>
                <a:off x="4451440" y="4005813"/>
                <a:ext cx="13243" cy="13432"/>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8" name="Freeform 243">
                <a:extLst>
                  <a:ext uri="{FF2B5EF4-FFF2-40B4-BE49-F238E27FC236}">
                    <a16:creationId xmlns:a16="http://schemas.microsoft.com/office/drawing/2014/main" id="{8C88CE84-E6FF-48EE-A9F4-B609C5E1EED1}"/>
                  </a:ext>
                </a:extLst>
              </p:cNvPr>
              <p:cNvSpPr>
                <a:spLocks/>
              </p:cNvSpPr>
              <p:nvPr/>
            </p:nvSpPr>
            <p:spPr bwMode="auto">
              <a:xfrm>
                <a:off x="4464683" y="4010697"/>
                <a:ext cx="7224" cy="8548"/>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19" name="Freeform 244">
                <a:extLst>
                  <a:ext uri="{FF2B5EF4-FFF2-40B4-BE49-F238E27FC236}">
                    <a16:creationId xmlns:a16="http://schemas.microsoft.com/office/drawing/2014/main" id="{6A63C7FF-1DC3-48A9-B841-B4B086F0AFCC}"/>
                  </a:ext>
                </a:extLst>
              </p:cNvPr>
              <p:cNvSpPr>
                <a:spLocks/>
              </p:cNvSpPr>
              <p:nvPr/>
            </p:nvSpPr>
            <p:spPr bwMode="auto">
              <a:xfrm>
                <a:off x="4544140" y="4036341"/>
                <a:ext cx="14446" cy="7326"/>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0" name="Freeform 245">
                <a:extLst>
                  <a:ext uri="{FF2B5EF4-FFF2-40B4-BE49-F238E27FC236}">
                    <a16:creationId xmlns:a16="http://schemas.microsoft.com/office/drawing/2014/main" id="{0509E4A7-A05C-4A61-83D6-436E15E3590B}"/>
                  </a:ext>
                </a:extLst>
              </p:cNvPr>
              <p:cNvSpPr>
                <a:spLocks/>
              </p:cNvSpPr>
              <p:nvPr/>
            </p:nvSpPr>
            <p:spPr bwMode="auto">
              <a:xfrm>
                <a:off x="4605539" y="4088851"/>
                <a:ext cx="2408" cy="2442"/>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1" name="Freeform 246">
                <a:extLst>
                  <a:ext uri="{FF2B5EF4-FFF2-40B4-BE49-F238E27FC236}">
                    <a16:creationId xmlns:a16="http://schemas.microsoft.com/office/drawing/2014/main" id="{D7753E5C-6BCD-4B9B-A425-A4D691D808D1}"/>
                  </a:ext>
                </a:extLst>
              </p:cNvPr>
              <p:cNvSpPr>
                <a:spLocks/>
              </p:cNvSpPr>
              <p:nvPr/>
            </p:nvSpPr>
            <p:spPr bwMode="auto">
              <a:xfrm>
                <a:off x="4600723" y="4091293"/>
                <a:ext cx="7224" cy="3664"/>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2" name="Freeform 247">
                <a:extLst>
                  <a:ext uri="{FF2B5EF4-FFF2-40B4-BE49-F238E27FC236}">
                    <a16:creationId xmlns:a16="http://schemas.microsoft.com/office/drawing/2014/main" id="{C7EF7932-2305-43A6-AFBB-7746FA901341}"/>
                  </a:ext>
                </a:extLst>
              </p:cNvPr>
              <p:cNvSpPr>
                <a:spLocks/>
              </p:cNvSpPr>
              <p:nvPr/>
            </p:nvSpPr>
            <p:spPr bwMode="auto">
              <a:xfrm>
                <a:off x="4607947" y="4094957"/>
                <a:ext cx="3612" cy="2442"/>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3" name="Freeform 248">
                <a:extLst>
                  <a:ext uri="{FF2B5EF4-FFF2-40B4-BE49-F238E27FC236}">
                    <a16:creationId xmlns:a16="http://schemas.microsoft.com/office/drawing/2014/main" id="{341803E0-57E2-4715-A3BF-04C6CFBAE9FF}"/>
                  </a:ext>
                </a:extLst>
              </p:cNvPr>
              <p:cNvSpPr>
                <a:spLocks/>
              </p:cNvSpPr>
              <p:nvPr/>
            </p:nvSpPr>
            <p:spPr bwMode="auto">
              <a:xfrm>
                <a:off x="4605539" y="4088851"/>
                <a:ext cx="2408" cy="2442"/>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4" name="Freeform 249">
                <a:extLst>
                  <a:ext uri="{FF2B5EF4-FFF2-40B4-BE49-F238E27FC236}">
                    <a16:creationId xmlns:a16="http://schemas.microsoft.com/office/drawing/2014/main" id="{C3EFC31B-78C1-40D5-949D-516DCD8C59CD}"/>
                  </a:ext>
                </a:extLst>
              </p:cNvPr>
              <p:cNvSpPr>
                <a:spLocks/>
              </p:cNvSpPr>
              <p:nvPr/>
            </p:nvSpPr>
            <p:spPr bwMode="auto">
              <a:xfrm>
                <a:off x="4607947" y="4029014"/>
                <a:ext cx="6019" cy="12212"/>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5" name="Freeform 250">
                <a:extLst>
                  <a:ext uri="{FF2B5EF4-FFF2-40B4-BE49-F238E27FC236}">
                    <a16:creationId xmlns:a16="http://schemas.microsoft.com/office/drawing/2014/main" id="{38219086-FC01-4827-B3F5-B26555FE3A8B}"/>
                  </a:ext>
                </a:extLst>
              </p:cNvPr>
              <p:cNvSpPr>
                <a:spLocks/>
              </p:cNvSpPr>
              <p:nvPr/>
            </p:nvSpPr>
            <p:spPr bwMode="auto">
              <a:xfrm>
                <a:off x="4586277" y="4043669"/>
                <a:ext cx="25282" cy="18317"/>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26" name="Freeform 251">
                <a:extLst>
                  <a:ext uri="{FF2B5EF4-FFF2-40B4-BE49-F238E27FC236}">
                    <a16:creationId xmlns:a16="http://schemas.microsoft.com/office/drawing/2014/main" id="{FF804100-4FF2-4FD7-AC4A-8D97E3050224}"/>
                  </a:ext>
                </a:extLst>
              </p:cNvPr>
              <p:cNvSpPr>
                <a:spLocks/>
              </p:cNvSpPr>
              <p:nvPr/>
            </p:nvSpPr>
            <p:spPr bwMode="auto">
              <a:xfrm>
                <a:off x="4588685" y="4010697"/>
                <a:ext cx="9632" cy="6106"/>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7" name="Freeform 252">
                <a:extLst>
                  <a:ext uri="{FF2B5EF4-FFF2-40B4-BE49-F238E27FC236}">
                    <a16:creationId xmlns:a16="http://schemas.microsoft.com/office/drawing/2014/main" id="{95B17AF9-FEBC-4B16-A37E-DBF55E913ED5}"/>
                  </a:ext>
                </a:extLst>
              </p:cNvPr>
              <p:cNvSpPr>
                <a:spLocks/>
              </p:cNvSpPr>
              <p:nvPr/>
            </p:nvSpPr>
            <p:spPr bwMode="auto">
              <a:xfrm>
                <a:off x="4600723" y="3983831"/>
                <a:ext cx="4815" cy="7326"/>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8" name="Freeform 253">
                <a:extLst>
                  <a:ext uri="{FF2B5EF4-FFF2-40B4-BE49-F238E27FC236}">
                    <a16:creationId xmlns:a16="http://schemas.microsoft.com/office/drawing/2014/main" id="{B342A71E-57F5-46D3-87E2-D949D3598CC3}"/>
                  </a:ext>
                </a:extLst>
              </p:cNvPr>
              <p:cNvSpPr>
                <a:spLocks/>
              </p:cNvSpPr>
              <p:nvPr/>
            </p:nvSpPr>
            <p:spPr bwMode="auto">
              <a:xfrm>
                <a:off x="4605539" y="3967956"/>
                <a:ext cx="6019" cy="9770"/>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29" name="Freeform 254">
                <a:extLst>
                  <a:ext uri="{FF2B5EF4-FFF2-40B4-BE49-F238E27FC236}">
                    <a16:creationId xmlns:a16="http://schemas.microsoft.com/office/drawing/2014/main" id="{24D9DA6E-E5F4-4B4B-84FF-61DE169B4DDE}"/>
                  </a:ext>
                </a:extLst>
              </p:cNvPr>
              <p:cNvSpPr>
                <a:spLocks/>
              </p:cNvSpPr>
              <p:nvPr/>
            </p:nvSpPr>
            <p:spPr bwMode="auto">
              <a:xfrm>
                <a:off x="4598315" y="3932543"/>
                <a:ext cx="2408" cy="10990"/>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0" name="Freeform 255">
                <a:extLst>
                  <a:ext uri="{FF2B5EF4-FFF2-40B4-BE49-F238E27FC236}">
                    <a16:creationId xmlns:a16="http://schemas.microsoft.com/office/drawing/2014/main" id="{428FBF8A-2BDC-4219-BFCB-823DFABE5001}"/>
                  </a:ext>
                </a:extLst>
              </p:cNvPr>
              <p:cNvSpPr>
                <a:spLocks/>
              </p:cNvSpPr>
              <p:nvPr/>
            </p:nvSpPr>
            <p:spPr bwMode="auto">
              <a:xfrm>
                <a:off x="4628413" y="3983831"/>
                <a:ext cx="7224" cy="12212"/>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1" name="Freeform 256">
                <a:extLst>
                  <a:ext uri="{FF2B5EF4-FFF2-40B4-BE49-F238E27FC236}">
                    <a16:creationId xmlns:a16="http://schemas.microsoft.com/office/drawing/2014/main" id="{50A7B0F0-E2FA-4FAE-B864-92B0E0791C3B}"/>
                  </a:ext>
                </a:extLst>
              </p:cNvPr>
              <p:cNvSpPr>
                <a:spLocks/>
              </p:cNvSpPr>
              <p:nvPr/>
            </p:nvSpPr>
            <p:spPr bwMode="auto">
              <a:xfrm>
                <a:off x="4523674" y="3870264"/>
                <a:ext cx="2408" cy="4884"/>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2" name="Freeform 257">
                <a:extLst>
                  <a:ext uri="{FF2B5EF4-FFF2-40B4-BE49-F238E27FC236}">
                    <a16:creationId xmlns:a16="http://schemas.microsoft.com/office/drawing/2014/main" id="{AF017041-A1EB-4C5D-A56C-31592DC47260}"/>
                  </a:ext>
                </a:extLst>
              </p:cNvPr>
              <p:cNvSpPr>
                <a:spLocks/>
              </p:cNvSpPr>
              <p:nvPr/>
            </p:nvSpPr>
            <p:spPr bwMode="auto">
              <a:xfrm>
                <a:off x="4532102" y="3882475"/>
                <a:ext cx="9632" cy="2442"/>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3" name="Freeform 258">
                <a:extLst>
                  <a:ext uri="{FF2B5EF4-FFF2-40B4-BE49-F238E27FC236}">
                    <a16:creationId xmlns:a16="http://schemas.microsoft.com/office/drawing/2014/main" id="{A03E3C95-DDAF-4BDC-BD35-C23AFF7C6C96}"/>
                  </a:ext>
                </a:extLst>
              </p:cNvPr>
              <p:cNvSpPr>
                <a:spLocks/>
              </p:cNvSpPr>
              <p:nvPr/>
            </p:nvSpPr>
            <p:spPr bwMode="auto">
              <a:xfrm>
                <a:off x="4600723" y="3945975"/>
                <a:ext cx="10835" cy="17096"/>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4" name="Freeform 259">
                <a:extLst>
                  <a:ext uri="{FF2B5EF4-FFF2-40B4-BE49-F238E27FC236}">
                    <a16:creationId xmlns:a16="http://schemas.microsoft.com/office/drawing/2014/main" id="{106551B6-6599-4BD9-8059-2E11BA113990}"/>
                  </a:ext>
                </a:extLst>
              </p:cNvPr>
              <p:cNvSpPr>
                <a:spLocks/>
              </p:cNvSpPr>
              <p:nvPr/>
            </p:nvSpPr>
            <p:spPr bwMode="auto">
              <a:xfrm>
                <a:off x="4588685" y="3910562"/>
                <a:ext cx="9632" cy="14654"/>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5" name="Freeform 260">
                <a:extLst>
                  <a:ext uri="{FF2B5EF4-FFF2-40B4-BE49-F238E27FC236}">
                    <a16:creationId xmlns:a16="http://schemas.microsoft.com/office/drawing/2014/main" id="{C5922A60-37E9-437B-9C29-9EC0CCEDF2B5}"/>
                  </a:ext>
                </a:extLst>
              </p:cNvPr>
              <p:cNvSpPr>
                <a:spLocks/>
              </p:cNvSpPr>
              <p:nvPr/>
            </p:nvSpPr>
            <p:spPr bwMode="auto">
              <a:xfrm>
                <a:off x="4593500" y="3910562"/>
                <a:ext cx="12039" cy="7326"/>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6" name="Freeform 261">
                <a:extLst>
                  <a:ext uri="{FF2B5EF4-FFF2-40B4-BE49-F238E27FC236}">
                    <a16:creationId xmlns:a16="http://schemas.microsoft.com/office/drawing/2014/main" id="{49A377FE-DF3C-4C67-A9A1-C3206B5F183D}"/>
                  </a:ext>
                </a:extLst>
              </p:cNvPr>
              <p:cNvSpPr>
                <a:spLocks/>
              </p:cNvSpPr>
              <p:nvPr/>
            </p:nvSpPr>
            <p:spPr bwMode="auto">
              <a:xfrm>
                <a:off x="4600723" y="3922773"/>
                <a:ext cx="4815" cy="2442"/>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7" name="Freeform 262">
                <a:extLst>
                  <a:ext uri="{FF2B5EF4-FFF2-40B4-BE49-F238E27FC236}">
                    <a16:creationId xmlns:a16="http://schemas.microsoft.com/office/drawing/2014/main" id="{AA101C61-A9C0-4821-8B26-E505E4D2294E}"/>
                  </a:ext>
                </a:extLst>
              </p:cNvPr>
              <p:cNvSpPr>
                <a:spLocks/>
              </p:cNvSpPr>
              <p:nvPr/>
            </p:nvSpPr>
            <p:spPr bwMode="auto">
              <a:xfrm>
                <a:off x="4565810" y="3875148"/>
                <a:ext cx="4815" cy="2442"/>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8" name="Freeform 263">
                <a:extLst>
                  <a:ext uri="{FF2B5EF4-FFF2-40B4-BE49-F238E27FC236}">
                    <a16:creationId xmlns:a16="http://schemas.microsoft.com/office/drawing/2014/main" id="{ED204959-981E-438B-9125-C667476E33C6}"/>
                  </a:ext>
                </a:extLst>
              </p:cNvPr>
              <p:cNvSpPr>
                <a:spLocks/>
              </p:cNvSpPr>
              <p:nvPr/>
            </p:nvSpPr>
            <p:spPr bwMode="auto">
              <a:xfrm>
                <a:off x="4565810" y="3865379"/>
                <a:ext cx="4815" cy="9770"/>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39" name="Freeform 264">
                <a:extLst>
                  <a:ext uri="{FF2B5EF4-FFF2-40B4-BE49-F238E27FC236}">
                    <a16:creationId xmlns:a16="http://schemas.microsoft.com/office/drawing/2014/main" id="{98429002-9FBF-4AA6-80A9-B03F8F0A41FB}"/>
                  </a:ext>
                </a:extLst>
              </p:cNvPr>
              <p:cNvSpPr>
                <a:spLocks/>
              </p:cNvSpPr>
              <p:nvPr/>
            </p:nvSpPr>
            <p:spPr bwMode="auto">
              <a:xfrm>
                <a:off x="4581461" y="3903235"/>
                <a:ext cx="4815" cy="4884"/>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0" name="Freeform 265">
                <a:extLst>
                  <a:ext uri="{FF2B5EF4-FFF2-40B4-BE49-F238E27FC236}">
                    <a16:creationId xmlns:a16="http://schemas.microsoft.com/office/drawing/2014/main" id="{47129D59-FFEA-47CB-A29F-D351069FEA9C}"/>
                  </a:ext>
                </a:extLst>
              </p:cNvPr>
              <p:cNvSpPr>
                <a:spLocks/>
              </p:cNvSpPr>
              <p:nvPr/>
            </p:nvSpPr>
            <p:spPr bwMode="auto">
              <a:xfrm>
                <a:off x="4576645" y="3892244"/>
                <a:ext cx="2408" cy="4884"/>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1" name="Freeform 266">
                <a:extLst>
                  <a:ext uri="{FF2B5EF4-FFF2-40B4-BE49-F238E27FC236}">
                    <a16:creationId xmlns:a16="http://schemas.microsoft.com/office/drawing/2014/main" id="{E487283F-876D-48CE-8F8B-4BF685E33F17}"/>
                  </a:ext>
                </a:extLst>
              </p:cNvPr>
              <p:cNvSpPr>
                <a:spLocks/>
              </p:cNvSpPr>
              <p:nvPr/>
            </p:nvSpPr>
            <p:spPr bwMode="auto">
              <a:xfrm>
                <a:off x="4571830" y="3889801"/>
                <a:ext cx="4815" cy="7326"/>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2" name="Freeform 267">
                <a:extLst>
                  <a:ext uri="{FF2B5EF4-FFF2-40B4-BE49-F238E27FC236}">
                    <a16:creationId xmlns:a16="http://schemas.microsoft.com/office/drawing/2014/main" id="{D5494D1F-D87E-476E-8D3F-97093EB29027}"/>
                  </a:ext>
                </a:extLst>
              </p:cNvPr>
              <p:cNvSpPr>
                <a:spLocks/>
              </p:cNvSpPr>
              <p:nvPr/>
            </p:nvSpPr>
            <p:spPr bwMode="auto">
              <a:xfrm>
                <a:off x="4588685" y="3897129"/>
                <a:ext cx="4815" cy="2442"/>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3" name="Freeform 268">
                <a:extLst>
                  <a:ext uri="{FF2B5EF4-FFF2-40B4-BE49-F238E27FC236}">
                    <a16:creationId xmlns:a16="http://schemas.microsoft.com/office/drawing/2014/main" id="{2CC8C1F8-F7D4-4DAB-AD19-D9C38DB8A9BB}"/>
                  </a:ext>
                </a:extLst>
              </p:cNvPr>
              <p:cNvSpPr>
                <a:spLocks/>
              </p:cNvSpPr>
              <p:nvPr/>
            </p:nvSpPr>
            <p:spPr bwMode="auto">
              <a:xfrm>
                <a:off x="4588685" y="3882475"/>
                <a:ext cx="4815" cy="7326"/>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4" name="Freeform 269">
                <a:extLst>
                  <a:ext uri="{FF2B5EF4-FFF2-40B4-BE49-F238E27FC236}">
                    <a16:creationId xmlns:a16="http://schemas.microsoft.com/office/drawing/2014/main" id="{9E895ED2-F4D0-46B4-8B24-9C8C74DA0F3F}"/>
                  </a:ext>
                </a:extLst>
              </p:cNvPr>
              <p:cNvSpPr>
                <a:spLocks noEditPoints="1"/>
              </p:cNvSpPr>
              <p:nvPr/>
            </p:nvSpPr>
            <p:spPr bwMode="auto">
              <a:xfrm>
                <a:off x="3124749" y="1939610"/>
                <a:ext cx="1639703" cy="1340834"/>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5" name="Freeform 289">
                <a:extLst>
                  <a:ext uri="{FF2B5EF4-FFF2-40B4-BE49-F238E27FC236}">
                    <a16:creationId xmlns:a16="http://schemas.microsoft.com/office/drawing/2014/main" id="{89DCC312-B86F-44B3-9018-E25218A1B454}"/>
                  </a:ext>
                </a:extLst>
              </p:cNvPr>
              <p:cNvSpPr>
                <a:spLocks noEditPoints="1"/>
              </p:cNvSpPr>
              <p:nvPr/>
            </p:nvSpPr>
            <p:spPr bwMode="auto">
              <a:xfrm>
                <a:off x="2617911" y="2385334"/>
                <a:ext cx="1908171" cy="1492257"/>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46" name="Freeform 290">
                <a:extLst>
                  <a:ext uri="{FF2B5EF4-FFF2-40B4-BE49-F238E27FC236}">
                    <a16:creationId xmlns:a16="http://schemas.microsoft.com/office/drawing/2014/main" id="{44FE122E-4B67-444B-BC1E-271B7722425B}"/>
                  </a:ext>
                </a:extLst>
              </p:cNvPr>
              <p:cNvSpPr>
                <a:spLocks/>
              </p:cNvSpPr>
              <p:nvPr/>
            </p:nvSpPr>
            <p:spPr bwMode="auto">
              <a:xfrm>
                <a:off x="4350313" y="4171890"/>
                <a:ext cx="745210" cy="928082"/>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47" name="Freeform 291">
                <a:extLst>
                  <a:ext uri="{FF2B5EF4-FFF2-40B4-BE49-F238E27FC236}">
                    <a16:creationId xmlns:a16="http://schemas.microsoft.com/office/drawing/2014/main" id="{5491F4FC-9093-48BC-8A29-F8DC077848FB}"/>
                  </a:ext>
                </a:extLst>
              </p:cNvPr>
              <p:cNvSpPr>
                <a:spLocks/>
              </p:cNvSpPr>
              <p:nvPr/>
            </p:nvSpPr>
            <p:spPr bwMode="auto">
              <a:xfrm>
                <a:off x="4801773" y="4245160"/>
                <a:ext cx="6019" cy="7326"/>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8" name="Freeform 292">
                <a:extLst>
                  <a:ext uri="{FF2B5EF4-FFF2-40B4-BE49-F238E27FC236}">
                    <a16:creationId xmlns:a16="http://schemas.microsoft.com/office/drawing/2014/main" id="{D5DAC281-0650-4F04-8B10-CB1F2103E8FA}"/>
                  </a:ext>
                </a:extLst>
              </p:cNvPr>
              <p:cNvSpPr>
                <a:spLocks/>
              </p:cNvSpPr>
              <p:nvPr/>
            </p:nvSpPr>
            <p:spPr bwMode="auto">
              <a:xfrm>
                <a:off x="4801773" y="4280573"/>
                <a:ext cx="8427" cy="9770"/>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49" name="Freeform 293">
                <a:extLst>
                  <a:ext uri="{FF2B5EF4-FFF2-40B4-BE49-F238E27FC236}">
                    <a16:creationId xmlns:a16="http://schemas.microsoft.com/office/drawing/2014/main" id="{936F331B-F827-405E-83D9-A691614548B0}"/>
                  </a:ext>
                </a:extLst>
              </p:cNvPr>
              <p:cNvSpPr>
                <a:spLocks/>
              </p:cNvSpPr>
              <p:nvPr/>
            </p:nvSpPr>
            <p:spPr bwMode="auto">
              <a:xfrm>
                <a:off x="4796958" y="4283016"/>
                <a:ext cx="6019" cy="10990"/>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0" name="Freeform 294">
                <a:extLst>
                  <a:ext uri="{FF2B5EF4-FFF2-40B4-BE49-F238E27FC236}">
                    <a16:creationId xmlns:a16="http://schemas.microsoft.com/office/drawing/2014/main" id="{7C2DC57B-0F78-477B-A8FB-A5F686F857B3}"/>
                  </a:ext>
                </a:extLst>
              </p:cNvPr>
              <p:cNvSpPr>
                <a:spLocks/>
              </p:cNvSpPr>
              <p:nvPr/>
            </p:nvSpPr>
            <p:spPr bwMode="auto">
              <a:xfrm>
                <a:off x="4782511" y="4301333"/>
                <a:ext cx="7224" cy="7326"/>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1" name="Freeform 295">
                <a:extLst>
                  <a:ext uri="{FF2B5EF4-FFF2-40B4-BE49-F238E27FC236}">
                    <a16:creationId xmlns:a16="http://schemas.microsoft.com/office/drawing/2014/main" id="{A0A14549-32EC-4534-B338-FF53138D0946}"/>
                  </a:ext>
                </a:extLst>
              </p:cNvPr>
              <p:cNvSpPr>
                <a:spLocks/>
              </p:cNvSpPr>
              <p:nvPr/>
            </p:nvSpPr>
            <p:spPr bwMode="auto">
              <a:xfrm>
                <a:off x="4787327" y="4308659"/>
                <a:ext cx="7224" cy="7326"/>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2" name="Freeform 296">
                <a:extLst>
                  <a:ext uri="{FF2B5EF4-FFF2-40B4-BE49-F238E27FC236}">
                    <a16:creationId xmlns:a16="http://schemas.microsoft.com/office/drawing/2014/main" id="{CB9D52E7-D190-4331-8501-3C7AB0B51AAE}"/>
                  </a:ext>
                </a:extLst>
              </p:cNvPr>
              <p:cNvSpPr>
                <a:spLocks/>
              </p:cNvSpPr>
              <p:nvPr/>
            </p:nvSpPr>
            <p:spPr bwMode="auto">
              <a:xfrm>
                <a:off x="4787327" y="4303775"/>
                <a:ext cx="7224" cy="4884"/>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3" name="Freeform 297">
                <a:extLst>
                  <a:ext uri="{FF2B5EF4-FFF2-40B4-BE49-F238E27FC236}">
                    <a16:creationId xmlns:a16="http://schemas.microsoft.com/office/drawing/2014/main" id="{11EA4AD2-4C9D-4574-A9A6-5D447C53CEC0}"/>
                  </a:ext>
                </a:extLst>
              </p:cNvPr>
              <p:cNvSpPr>
                <a:spLocks/>
              </p:cNvSpPr>
              <p:nvPr/>
            </p:nvSpPr>
            <p:spPr bwMode="auto">
              <a:xfrm>
                <a:off x="4802978" y="4275688"/>
                <a:ext cx="7224" cy="7326"/>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4" name="Freeform 298">
                <a:extLst>
                  <a:ext uri="{FF2B5EF4-FFF2-40B4-BE49-F238E27FC236}">
                    <a16:creationId xmlns:a16="http://schemas.microsoft.com/office/drawing/2014/main" id="{5BF41AED-EBB1-497B-B5F7-6E15E1E988A1}"/>
                  </a:ext>
                </a:extLst>
              </p:cNvPr>
              <p:cNvSpPr>
                <a:spLocks/>
              </p:cNvSpPr>
              <p:nvPr/>
            </p:nvSpPr>
            <p:spPr bwMode="auto">
              <a:xfrm>
                <a:off x="4193807" y="4071755"/>
                <a:ext cx="114370" cy="59838"/>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955" name="Freeform 299">
                <a:extLst>
                  <a:ext uri="{FF2B5EF4-FFF2-40B4-BE49-F238E27FC236}">
                    <a16:creationId xmlns:a16="http://schemas.microsoft.com/office/drawing/2014/main" id="{BC82E5D2-F744-4510-8B01-A97F518945D3}"/>
                  </a:ext>
                </a:extLst>
              </p:cNvPr>
              <p:cNvSpPr>
                <a:spLocks/>
              </p:cNvSpPr>
              <p:nvPr/>
            </p:nvSpPr>
            <p:spPr bwMode="auto">
              <a:xfrm>
                <a:off x="4220293" y="4116938"/>
                <a:ext cx="6019" cy="12212"/>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956" name="Freeform 300">
                <a:extLst>
                  <a:ext uri="{FF2B5EF4-FFF2-40B4-BE49-F238E27FC236}">
                    <a16:creationId xmlns:a16="http://schemas.microsoft.com/office/drawing/2014/main" id="{E2FD6D18-18C6-47B1-9EF1-BAB25D810063}"/>
                  </a:ext>
                </a:extLst>
              </p:cNvPr>
              <p:cNvSpPr>
                <a:spLocks/>
              </p:cNvSpPr>
              <p:nvPr/>
            </p:nvSpPr>
            <p:spPr bwMode="auto">
              <a:xfrm>
                <a:off x="4273264" y="4097399"/>
                <a:ext cx="4815" cy="7326"/>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grpSp>
        <p:grpSp>
          <p:nvGrpSpPr>
            <p:cNvPr id="662" name="Group 661">
              <a:extLst>
                <a:ext uri="{FF2B5EF4-FFF2-40B4-BE49-F238E27FC236}">
                  <a16:creationId xmlns:a16="http://schemas.microsoft.com/office/drawing/2014/main" id="{85818524-9B64-446F-8F03-F65CD29395D0}"/>
                </a:ext>
              </a:extLst>
            </p:cNvPr>
            <p:cNvGrpSpPr/>
            <p:nvPr/>
          </p:nvGrpSpPr>
          <p:grpSpPr>
            <a:xfrm>
              <a:off x="4380410" y="1918851"/>
              <a:ext cx="4921262" cy="3516978"/>
              <a:chOff x="4380410" y="1918851"/>
              <a:chExt cx="4921262" cy="3516978"/>
            </a:xfrm>
          </p:grpSpPr>
          <p:sp>
            <p:nvSpPr>
              <p:cNvPr id="663" name="Freeform 10">
                <a:extLst>
                  <a:ext uri="{FF2B5EF4-FFF2-40B4-BE49-F238E27FC236}">
                    <a16:creationId xmlns:a16="http://schemas.microsoft.com/office/drawing/2014/main" id="{53B57361-5AB9-45EC-AB83-C5B62E39E0E6}"/>
                  </a:ext>
                </a:extLst>
              </p:cNvPr>
              <p:cNvSpPr>
                <a:spLocks/>
              </p:cNvSpPr>
              <p:nvPr/>
            </p:nvSpPr>
            <p:spPr bwMode="auto">
              <a:xfrm>
                <a:off x="7110396" y="2968267"/>
                <a:ext cx="1152601" cy="861707"/>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solidFill>
                <a:schemeClr val="accent2"/>
              </a:solidFill>
              <a:ln w="3175" cmpd="sng">
                <a:solidFill>
                  <a:schemeClr val="bg1"/>
                </a:solidFill>
                <a:round/>
                <a:headEnd/>
                <a:tailEnd/>
              </a:ln>
            </p:spPr>
            <p:txBody>
              <a:bodyPr/>
              <a:lstStyle/>
              <a:p>
                <a:endParaRPr lang="en-GB" sz="1539">
                  <a:solidFill>
                    <a:schemeClr val="accent1"/>
                  </a:solidFill>
                </a:endParaRPr>
              </a:p>
            </p:txBody>
          </p:sp>
          <p:sp>
            <p:nvSpPr>
              <p:cNvPr id="664" name="Freeform 11">
                <a:extLst>
                  <a:ext uri="{FF2B5EF4-FFF2-40B4-BE49-F238E27FC236}">
                    <a16:creationId xmlns:a16="http://schemas.microsoft.com/office/drawing/2014/main" id="{66B50D1C-2A0A-4E9C-A057-96108316CC40}"/>
                  </a:ext>
                </a:extLst>
              </p:cNvPr>
              <p:cNvSpPr>
                <a:spLocks noEditPoints="1"/>
              </p:cNvSpPr>
              <p:nvPr/>
            </p:nvSpPr>
            <p:spPr bwMode="auto">
              <a:xfrm>
                <a:off x="8843540" y="5113446"/>
                <a:ext cx="230278" cy="322383"/>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5" name="Freeform 42">
                <a:extLst>
                  <a:ext uri="{FF2B5EF4-FFF2-40B4-BE49-F238E27FC236}">
                    <a16:creationId xmlns:a16="http://schemas.microsoft.com/office/drawing/2014/main" id="{9E3221ED-FACF-43B1-B978-EED65A8A8641}"/>
                  </a:ext>
                </a:extLst>
              </p:cNvPr>
              <p:cNvSpPr>
                <a:spLocks/>
              </p:cNvSpPr>
              <p:nvPr/>
            </p:nvSpPr>
            <p:spPr bwMode="auto">
              <a:xfrm>
                <a:off x="7230384" y="3579098"/>
                <a:ext cx="159982" cy="105441"/>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6" name="Freeform 43">
                <a:extLst>
                  <a:ext uri="{FF2B5EF4-FFF2-40B4-BE49-F238E27FC236}">
                    <a16:creationId xmlns:a16="http://schemas.microsoft.com/office/drawing/2014/main" id="{FA39B36F-2974-4D46-A688-0C7518D8AA43}"/>
                  </a:ext>
                </a:extLst>
              </p:cNvPr>
              <p:cNvSpPr>
                <a:spLocks/>
              </p:cNvSpPr>
              <p:nvPr/>
            </p:nvSpPr>
            <p:spPr bwMode="auto">
              <a:xfrm>
                <a:off x="7392790" y="3631212"/>
                <a:ext cx="70295" cy="46054"/>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7" name="Freeform 44">
                <a:extLst>
                  <a:ext uri="{FF2B5EF4-FFF2-40B4-BE49-F238E27FC236}">
                    <a16:creationId xmlns:a16="http://schemas.microsoft.com/office/drawing/2014/main" id="{30D67AFA-562F-46CD-ACBF-E3B14DEFB28C}"/>
                  </a:ext>
                </a:extLst>
              </p:cNvPr>
              <p:cNvSpPr>
                <a:spLocks/>
              </p:cNvSpPr>
              <p:nvPr/>
            </p:nvSpPr>
            <p:spPr bwMode="auto">
              <a:xfrm>
                <a:off x="7379458" y="3674843"/>
                <a:ext cx="90899" cy="149072"/>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8" name="Freeform 53">
                <a:extLst>
                  <a:ext uri="{FF2B5EF4-FFF2-40B4-BE49-F238E27FC236}">
                    <a16:creationId xmlns:a16="http://schemas.microsoft.com/office/drawing/2014/main" id="{5EF6F8D1-0B9B-4604-A774-C0516123BB73}"/>
                  </a:ext>
                </a:extLst>
              </p:cNvPr>
              <p:cNvSpPr>
                <a:spLocks/>
              </p:cNvSpPr>
              <p:nvPr/>
            </p:nvSpPr>
            <p:spPr bwMode="auto">
              <a:xfrm>
                <a:off x="7978180" y="3703930"/>
                <a:ext cx="39996" cy="95745"/>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69" name="Freeform 54">
                <a:extLst>
                  <a:ext uri="{FF2B5EF4-FFF2-40B4-BE49-F238E27FC236}">
                    <a16:creationId xmlns:a16="http://schemas.microsoft.com/office/drawing/2014/main" id="{5E2665D5-CB67-4B05-ADC4-125E8A052DDD}"/>
                  </a:ext>
                </a:extLst>
              </p:cNvPr>
              <p:cNvSpPr>
                <a:spLocks/>
              </p:cNvSpPr>
              <p:nvPr/>
            </p:nvSpPr>
            <p:spPr bwMode="auto">
              <a:xfrm>
                <a:off x="8063019" y="3261563"/>
                <a:ext cx="117563" cy="143012"/>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0" name="Freeform 55">
                <a:extLst>
                  <a:ext uri="{FF2B5EF4-FFF2-40B4-BE49-F238E27FC236}">
                    <a16:creationId xmlns:a16="http://schemas.microsoft.com/office/drawing/2014/main" id="{7DB7FBE0-1D64-4A1C-A4CA-9514C18576CD}"/>
                  </a:ext>
                </a:extLst>
              </p:cNvPr>
              <p:cNvSpPr>
                <a:spLocks/>
              </p:cNvSpPr>
              <p:nvPr/>
            </p:nvSpPr>
            <p:spPr bwMode="auto">
              <a:xfrm>
                <a:off x="8093319" y="3374275"/>
                <a:ext cx="66660" cy="112713"/>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671" name="Freeform 56">
                <a:extLst>
                  <a:ext uri="{FF2B5EF4-FFF2-40B4-BE49-F238E27FC236}">
                    <a16:creationId xmlns:a16="http://schemas.microsoft.com/office/drawing/2014/main" id="{D0866709-2A61-41BB-95B5-60784A15DF5A}"/>
                  </a:ext>
                </a:extLst>
              </p:cNvPr>
              <p:cNvSpPr>
                <a:spLocks/>
              </p:cNvSpPr>
              <p:nvPr/>
            </p:nvSpPr>
            <p:spPr bwMode="auto">
              <a:xfrm>
                <a:off x="8090895" y="3503956"/>
                <a:ext cx="21816" cy="13331"/>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2" name="Freeform 57">
                <a:extLst>
                  <a:ext uri="{FF2B5EF4-FFF2-40B4-BE49-F238E27FC236}">
                    <a16:creationId xmlns:a16="http://schemas.microsoft.com/office/drawing/2014/main" id="{0C282792-94C5-4CC9-A834-BE688C190E13}"/>
                  </a:ext>
                </a:extLst>
              </p:cNvPr>
              <p:cNvSpPr>
                <a:spLocks/>
              </p:cNvSpPr>
              <p:nvPr/>
            </p:nvSpPr>
            <p:spPr bwMode="auto">
              <a:xfrm>
                <a:off x="8152707" y="3474869"/>
                <a:ext cx="7272" cy="16967"/>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3" name="Freeform 58">
                <a:extLst>
                  <a:ext uri="{FF2B5EF4-FFF2-40B4-BE49-F238E27FC236}">
                    <a16:creationId xmlns:a16="http://schemas.microsoft.com/office/drawing/2014/main" id="{6244497D-BBB9-41B2-A38D-E442E5EF3C06}"/>
                  </a:ext>
                </a:extLst>
              </p:cNvPr>
              <p:cNvSpPr>
                <a:spLocks/>
              </p:cNvSpPr>
              <p:nvPr/>
            </p:nvSpPr>
            <p:spPr bwMode="auto">
              <a:xfrm>
                <a:off x="8090895" y="3479716"/>
                <a:ext cx="9696" cy="4848"/>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4" name="Freeform 59">
                <a:extLst>
                  <a:ext uri="{FF2B5EF4-FFF2-40B4-BE49-F238E27FC236}">
                    <a16:creationId xmlns:a16="http://schemas.microsoft.com/office/drawing/2014/main" id="{E57CF5A9-6E7E-4F43-826E-53DE6C4A5A09}"/>
                  </a:ext>
                </a:extLst>
              </p:cNvPr>
              <p:cNvSpPr>
                <a:spLocks/>
              </p:cNvSpPr>
              <p:nvPr/>
            </p:nvSpPr>
            <p:spPr bwMode="auto">
              <a:xfrm>
                <a:off x="8090895" y="3468809"/>
                <a:ext cx="2424" cy="6060"/>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5" name="Freeform 60">
                <a:extLst>
                  <a:ext uri="{FF2B5EF4-FFF2-40B4-BE49-F238E27FC236}">
                    <a16:creationId xmlns:a16="http://schemas.microsoft.com/office/drawing/2014/main" id="{571D510C-647A-4C4A-8CBA-1BC0670308FE}"/>
                  </a:ext>
                </a:extLst>
              </p:cNvPr>
              <p:cNvSpPr>
                <a:spLocks/>
              </p:cNvSpPr>
              <p:nvPr/>
            </p:nvSpPr>
            <p:spPr bwMode="auto">
              <a:xfrm>
                <a:off x="8098167" y="3428814"/>
                <a:ext cx="2424" cy="4848"/>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6" name="Freeform 61">
                <a:extLst>
                  <a:ext uri="{FF2B5EF4-FFF2-40B4-BE49-F238E27FC236}">
                    <a16:creationId xmlns:a16="http://schemas.microsoft.com/office/drawing/2014/main" id="{49F65DF2-6C79-44AE-9044-EC9BBA16EEA7}"/>
                  </a:ext>
                </a:extLst>
              </p:cNvPr>
              <p:cNvSpPr>
                <a:spLocks/>
              </p:cNvSpPr>
              <p:nvPr/>
            </p:nvSpPr>
            <p:spPr bwMode="auto">
              <a:xfrm>
                <a:off x="8138163" y="3468809"/>
                <a:ext cx="7272" cy="6060"/>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7" name="Freeform 62">
                <a:extLst>
                  <a:ext uri="{FF2B5EF4-FFF2-40B4-BE49-F238E27FC236}">
                    <a16:creationId xmlns:a16="http://schemas.microsoft.com/office/drawing/2014/main" id="{6CDF4572-F4A1-4709-BAE8-88CE369616C1}"/>
                  </a:ext>
                </a:extLst>
              </p:cNvPr>
              <p:cNvSpPr>
                <a:spLocks/>
              </p:cNvSpPr>
              <p:nvPr/>
            </p:nvSpPr>
            <p:spPr bwMode="auto">
              <a:xfrm>
                <a:off x="8126043" y="3468809"/>
                <a:ext cx="4848" cy="6060"/>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8" name="Freeform 63">
                <a:extLst>
                  <a:ext uri="{FF2B5EF4-FFF2-40B4-BE49-F238E27FC236}">
                    <a16:creationId xmlns:a16="http://schemas.microsoft.com/office/drawing/2014/main" id="{263AE880-EB06-4528-9EBE-C9B7673AEAFA}"/>
                  </a:ext>
                </a:extLst>
              </p:cNvPr>
              <p:cNvSpPr>
                <a:spLocks/>
              </p:cNvSpPr>
              <p:nvPr/>
            </p:nvSpPr>
            <p:spPr bwMode="auto">
              <a:xfrm>
                <a:off x="8100591" y="3486988"/>
                <a:ext cx="4848" cy="4848"/>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79" name="Freeform 64">
                <a:extLst>
                  <a:ext uri="{FF2B5EF4-FFF2-40B4-BE49-F238E27FC236}">
                    <a16:creationId xmlns:a16="http://schemas.microsoft.com/office/drawing/2014/main" id="{8113E9D3-4095-4FF6-AC0A-642B04724DA0}"/>
                  </a:ext>
                </a:extLst>
              </p:cNvPr>
              <p:cNvSpPr>
                <a:spLocks/>
              </p:cNvSpPr>
              <p:nvPr/>
            </p:nvSpPr>
            <p:spPr bwMode="auto">
              <a:xfrm>
                <a:off x="8098167" y="3396091"/>
                <a:ext cx="2424" cy="8484"/>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0" name="Freeform 65">
                <a:extLst>
                  <a:ext uri="{FF2B5EF4-FFF2-40B4-BE49-F238E27FC236}">
                    <a16:creationId xmlns:a16="http://schemas.microsoft.com/office/drawing/2014/main" id="{C8C7199B-7513-4EEF-9056-ECB3819F3387}"/>
                  </a:ext>
                </a:extLst>
              </p:cNvPr>
              <p:cNvSpPr>
                <a:spLocks/>
              </p:cNvSpPr>
              <p:nvPr/>
            </p:nvSpPr>
            <p:spPr bwMode="auto">
              <a:xfrm>
                <a:off x="7764870" y="3829974"/>
                <a:ext cx="46056" cy="49691"/>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1" name="Freeform 66">
                <a:extLst>
                  <a:ext uri="{FF2B5EF4-FFF2-40B4-BE49-F238E27FC236}">
                    <a16:creationId xmlns:a16="http://schemas.microsoft.com/office/drawing/2014/main" id="{642912D6-4920-4028-8215-FBE659CBECB6}"/>
                  </a:ext>
                </a:extLst>
              </p:cNvPr>
              <p:cNvSpPr>
                <a:spLocks/>
              </p:cNvSpPr>
              <p:nvPr/>
            </p:nvSpPr>
            <p:spPr bwMode="auto">
              <a:xfrm>
                <a:off x="7227959" y="4072368"/>
                <a:ext cx="42419" cy="94533"/>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2" name="Freeform 67">
                <a:extLst>
                  <a:ext uri="{FF2B5EF4-FFF2-40B4-BE49-F238E27FC236}">
                    <a16:creationId xmlns:a16="http://schemas.microsoft.com/office/drawing/2014/main" id="{102E3F94-2F5D-4FB8-8A0E-2E4E9AB53643}"/>
                  </a:ext>
                </a:extLst>
              </p:cNvPr>
              <p:cNvSpPr>
                <a:spLocks/>
              </p:cNvSpPr>
              <p:nvPr/>
            </p:nvSpPr>
            <p:spPr bwMode="auto">
              <a:xfrm>
                <a:off x="7460661" y="3623940"/>
                <a:ext cx="169678" cy="448428"/>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3" name="Freeform 68">
                <a:extLst>
                  <a:ext uri="{FF2B5EF4-FFF2-40B4-BE49-F238E27FC236}">
                    <a16:creationId xmlns:a16="http://schemas.microsoft.com/office/drawing/2014/main" id="{5BC6CA6D-2BBD-462E-9110-877AFBDA95A4}"/>
                  </a:ext>
                </a:extLst>
              </p:cNvPr>
              <p:cNvSpPr>
                <a:spLocks/>
              </p:cNvSpPr>
              <p:nvPr/>
            </p:nvSpPr>
            <p:spPr bwMode="auto">
              <a:xfrm>
                <a:off x="7557620" y="3823914"/>
                <a:ext cx="157558" cy="347834"/>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4" name="Freeform 69">
                <a:extLst>
                  <a:ext uri="{FF2B5EF4-FFF2-40B4-BE49-F238E27FC236}">
                    <a16:creationId xmlns:a16="http://schemas.microsoft.com/office/drawing/2014/main" id="{4D98391E-3DE2-47D0-8AC7-D10297F92E8F}"/>
                  </a:ext>
                </a:extLst>
              </p:cNvPr>
              <p:cNvSpPr>
                <a:spLocks/>
              </p:cNvSpPr>
              <p:nvPr/>
            </p:nvSpPr>
            <p:spPr bwMode="auto">
              <a:xfrm>
                <a:off x="7467933" y="3985107"/>
                <a:ext cx="12120" cy="54539"/>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5" name="Freeform 70">
                <a:extLst>
                  <a:ext uri="{FF2B5EF4-FFF2-40B4-BE49-F238E27FC236}">
                    <a16:creationId xmlns:a16="http://schemas.microsoft.com/office/drawing/2014/main" id="{193BE1D9-B9EA-4FF0-974F-D8BC2202707F}"/>
                  </a:ext>
                </a:extLst>
              </p:cNvPr>
              <p:cNvSpPr>
                <a:spLocks/>
              </p:cNvSpPr>
              <p:nvPr/>
            </p:nvSpPr>
            <p:spPr bwMode="auto">
              <a:xfrm>
                <a:off x="7463086" y="4046917"/>
                <a:ext cx="7272" cy="12120"/>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6" name="Freeform 71">
                <a:extLst>
                  <a:ext uri="{FF2B5EF4-FFF2-40B4-BE49-F238E27FC236}">
                    <a16:creationId xmlns:a16="http://schemas.microsoft.com/office/drawing/2014/main" id="{AA66F3FF-BFE4-45A9-A6CB-262EB6A0E5FD}"/>
                  </a:ext>
                </a:extLst>
              </p:cNvPr>
              <p:cNvSpPr>
                <a:spLocks/>
              </p:cNvSpPr>
              <p:nvPr/>
            </p:nvSpPr>
            <p:spPr bwMode="auto">
              <a:xfrm>
                <a:off x="7487325" y="4131754"/>
                <a:ext cx="9696" cy="13331"/>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7" name="Freeform 72">
                <a:extLst>
                  <a:ext uri="{FF2B5EF4-FFF2-40B4-BE49-F238E27FC236}">
                    <a16:creationId xmlns:a16="http://schemas.microsoft.com/office/drawing/2014/main" id="{7C7F797A-14C9-4FBC-BD58-A6448F4ADEF1}"/>
                  </a:ext>
                </a:extLst>
              </p:cNvPr>
              <p:cNvSpPr>
                <a:spLocks/>
              </p:cNvSpPr>
              <p:nvPr/>
            </p:nvSpPr>
            <p:spPr bwMode="auto">
              <a:xfrm>
                <a:off x="7467933" y="4082063"/>
                <a:ext cx="7272" cy="9696"/>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8" name="Freeform 73">
                <a:extLst>
                  <a:ext uri="{FF2B5EF4-FFF2-40B4-BE49-F238E27FC236}">
                    <a16:creationId xmlns:a16="http://schemas.microsoft.com/office/drawing/2014/main" id="{9F1745CE-AC10-432C-90B5-B504D3F9C844}"/>
                  </a:ext>
                </a:extLst>
              </p:cNvPr>
              <p:cNvSpPr>
                <a:spLocks/>
              </p:cNvSpPr>
              <p:nvPr/>
            </p:nvSpPr>
            <p:spPr bwMode="auto">
              <a:xfrm>
                <a:off x="7482476" y="4112362"/>
                <a:ext cx="4848" cy="4848"/>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89" name="Freeform 74">
                <a:extLst>
                  <a:ext uri="{FF2B5EF4-FFF2-40B4-BE49-F238E27FC236}">
                    <a16:creationId xmlns:a16="http://schemas.microsoft.com/office/drawing/2014/main" id="{66D9200A-38E9-4112-BEF1-5D5B91C5373F}"/>
                  </a:ext>
                </a:extLst>
              </p:cNvPr>
              <p:cNvSpPr>
                <a:spLocks/>
              </p:cNvSpPr>
              <p:nvPr/>
            </p:nvSpPr>
            <p:spPr bwMode="auto">
              <a:xfrm>
                <a:off x="7647307" y="3749985"/>
                <a:ext cx="138167" cy="357530"/>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0" name="Freeform 75">
                <a:extLst>
                  <a:ext uri="{FF2B5EF4-FFF2-40B4-BE49-F238E27FC236}">
                    <a16:creationId xmlns:a16="http://schemas.microsoft.com/office/drawing/2014/main" id="{3DBB6336-F259-4E38-826F-379F3BE76631}"/>
                  </a:ext>
                </a:extLst>
              </p:cNvPr>
              <p:cNvSpPr>
                <a:spLocks/>
              </p:cNvSpPr>
              <p:nvPr/>
            </p:nvSpPr>
            <p:spPr bwMode="auto">
              <a:xfrm>
                <a:off x="7612160" y="3776649"/>
                <a:ext cx="140591" cy="204822"/>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1" name="Freeform 76">
                <a:extLst>
                  <a:ext uri="{FF2B5EF4-FFF2-40B4-BE49-F238E27FC236}">
                    <a16:creationId xmlns:a16="http://schemas.microsoft.com/office/drawing/2014/main" id="{8C328BD4-EC99-4D56-A842-D397D555F442}"/>
                  </a:ext>
                </a:extLst>
              </p:cNvPr>
              <p:cNvSpPr>
                <a:spLocks/>
              </p:cNvSpPr>
              <p:nvPr/>
            </p:nvSpPr>
            <p:spPr bwMode="auto">
              <a:xfrm>
                <a:off x="7647307" y="3959655"/>
                <a:ext cx="103019" cy="99381"/>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2" name="Freeform 210">
                <a:extLst>
                  <a:ext uri="{FF2B5EF4-FFF2-40B4-BE49-F238E27FC236}">
                    <a16:creationId xmlns:a16="http://schemas.microsoft.com/office/drawing/2014/main" id="{69D485DF-6C3A-466A-A47C-2B357C49B1FF}"/>
                  </a:ext>
                </a:extLst>
              </p:cNvPr>
              <p:cNvSpPr>
                <a:spLocks noEditPoints="1"/>
              </p:cNvSpPr>
              <p:nvPr/>
            </p:nvSpPr>
            <p:spPr bwMode="auto">
              <a:xfrm>
                <a:off x="7926066" y="3863910"/>
                <a:ext cx="181798" cy="345410"/>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3" name="Freeform 211">
                <a:extLst>
                  <a:ext uri="{FF2B5EF4-FFF2-40B4-BE49-F238E27FC236}">
                    <a16:creationId xmlns:a16="http://schemas.microsoft.com/office/drawing/2014/main" id="{0CF8365C-8098-40FC-8966-71944BDEF976}"/>
                  </a:ext>
                </a:extLst>
              </p:cNvPr>
              <p:cNvSpPr>
                <a:spLocks/>
              </p:cNvSpPr>
              <p:nvPr/>
            </p:nvSpPr>
            <p:spPr bwMode="auto">
              <a:xfrm>
                <a:off x="9036246" y="4700166"/>
                <a:ext cx="42419" cy="20604"/>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4" name="Freeform 212">
                <a:extLst>
                  <a:ext uri="{FF2B5EF4-FFF2-40B4-BE49-F238E27FC236}">
                    <a16:creationId xmlns:a16="http://schemas.microsoft.com/office/drawing/2014/main" id="{72A6A5D5-19A7-4AF4-8445-F4333AB3686B}"/>
                  </a:ext>
                </a:extLst>
              </p:cNvPr>
              <p:cNvSpPr>
                <a:spLocks/>
              </p:cNvSpPr>
              <p:nvPr/>
            </p:nvSpPr>
            <p:spPr bwMode="auto">
              <a:xfrm>
                <a:off x="9066547" y="4667443"/>
                <a:ext cx="37571" cy="25451"/>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5" name="Freeform 213">
                <a:extLst>
                  <a:ext uri="{FF2B5EF4-FFF2-40B4-BE49-F238E27FC236}">
                    <a16:creationId xmlns:a16="http://schemas.microsoft.com/office/drawing/2014/main" id="{75A31D4E-6918-4BCA-B7AC-34E06609058E}"/>
                  </a:ext>
                </a:extLst>
              </p:cNvPr>
              <p:cNvSpPr>
                <a:spLocks/>
              </p:cNvSpPr>
              <p:nvPr/>
            </p:nvSpPr>
            <p:spPr bwMode="auto">
              <a:xfrm>
                <a:off x="7783051" y="4137814"/>
                <a:ext cx="185434" cy="146647"/>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6" name="Freeform 214">
                <a:extLst>
                  <a:ext uri="{FF2B5EF4-FFF2-40B4-BE49-F238E27FC236}">
                    <a16:creationId xmlns:a16="http://schemas.microsoft.com/office/drawing/2014/main" id="{E387374A-27BD-4DB5-8509-A97C8BE06DDF}"/>
                  </a:ext>
                </a:extLst>
              </p:cNvPr>
              <p:cNvSpPr>
                <a:spLocks/>
              </p:cNvSpPr>
              <p:nvPr/>
            </p:nvSpPr>
            <p:spPr bwMode="auto">
              <a:xfrm>
                <a:off x="7867889" y="4180233"/>
                <a:ext cx="23028" cy="29087"/>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7" name="Freeform 215">
                <a:extLst>
                  <a:ext uri="{FF2B5EF4-FFF2-40B4-BE49-F238E27FC236}">
                    <a16:creationId xmlns:a16="http://schemas.microsoft.com/office/drawing/2014/main" id="{AD74952B-1F0A-4ACB-ACE2-B0C40E595633}"/>
                  </a:ext>
                </a:extLst>
              </p:cNvPr>
              <p:cNvSpPr>
                <a:spLocks/>
              </p:cNvSpPr>
              <p:nvPr/>
            </p:nvSpPr>
            <p:spPr bwMode="auto">
              <a:xfrm>
                <a:off x="7887281" y="4185081"/>
                <a:ext cx="6060" cy="19391"/>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8" name="Freeform 216">
                <a:extLst>
                  <a:ext uri="{FF2B5EF4-FFF2-40B4-BE49-F238E27FC236}">
                    <a16:creationId xmlns:a16="http://schemas.microsoft.com/office/drawing/2014/main" id="{4BF6F1DA-863B-41A3-8397-B9EF2DFA5838}"/>
                  </a:ext>
                </a:extLst>
              </p:cNvPr>
              <p:cNvSpPr>
                <a:spLocks noEditPoints="1"/>
              </p:cNvSpPr>
              <p:nvPr/>
            </p:nvSpPr>
            <p:spPr bwMode="auto">
              <a:xfrm>
                <a:off x="8356321" y="4329304"/>
                <a:ext cx="296937" cy="236334"/>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699" name="Freeform 217">
                <a:extLst>
                  <a:ext uri="{FF2B5EF4-FFF2-40B4-BE49-F238E27FC236}">
                    <a16:creationId xmlns:a16="http://schemas.microsoft.com/office/drawing/2014/main" id="{F1E2BF3F-88FA-403A-8920-E87DDF05E4D9}"/>
                  </a:ext>
                </a:extLst>
              </p:cNvPr>
              <p:cNvSpPr>
                <a:spLocks noEditPoints="1"/>
              </p:cNvSpPr>
              <p:nvPr/>
            </p:nvSpPr>
            <p:spPr bwMode="auto">
              <a:xfrm>
                <a:off x="8645986" y="4448077"/>
                <a:ext cx="124835" cy="124832"/>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0" name="Freeform 218">
                <a:extLst>
                  <a:ext uri="{FF2B5EF4-FFF2-40B4-BE49-F238E27FC236}">
                    <a16:creationId xmlns:a16="http://schemas.microsoft.com/office/drawing/2014/main" id="{8DFEF5BE-8DBE-4C76-885F-B9DBDD6BA15F}"/>
                  </a:ext>
                </a:extLst>
              </p:cNvPr>
              <p:cNvSpPr>
                <a:spLocks noEditPoints="1"/>
              </p:cNvSpPr>
              <p:nvPr/>
            </p:nvSpPr>
            <p:spPr bwMode="auto">
              <a:xfrm>
                <a:off x="8845964" y="4634720"/>
                <a:ext cx="58175" cy="122409"/>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1" name="Freeform 219">
                <a:extLst>
                  <a:ext uri="{FF2B5EF4-FFF2-40B4-BE49-F238E27FC236}">
                    <a16:creationId xmlns:a16="http://schemas.microsoft.com/office/drawing/2014/main" id="{2D580298-AC42-46A2-BBFD-BADE7BB19E35}"/>
                  </a:ext>
                </a:extLst>
              </p:cNvPr>
              <p:cNvSpPr>
                <a:spLocks noEditPoints="1"/>
              </p:cNvSpPr>
              <p:nvPr/>
            </p:nvSpPr>
            <p:spPr bwMode="auto">
              <a:xfrm>
                <a:off x="8793849" y="4765612"/>
                <a:ext cx="89687" cy="54539"/>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2" name="Freeform 220">
                <a:extLst>
                  <a:ext uri="{FF2B5EF4-FFF2-40B4-BE49-F238E27FC236}">
                    <a16:creationId xmlns:a16="http://schemas.microsoft.com/office/drawing/2014/main" id="{53F6489F-522C-4A5A-978F-E75BCBC03B0F}"/>
                  </a:ext>
                </a:extLst>
              </p:cNvPr>
              <p:cNvSpPr>
                <a:spLocks/>
              </p:cNvSpPr>
              <p:nvPr/>
            </p:nvSpPr>
            <p:spPr bwMode="auto">
              <a:xfrm>
                <a:off x="7612160" y="4140238"/>
                <a:ext cx="77567" cy="134529"/>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3" name="Freeform 221">
                <a:extLst>
                  <a:ext uri="{FF2B5EF4-FFF2-40B4-BE49-F238E27FC236}">
                    <a16:creationId xmlns:a16="http://schemas.microsoft.com/office/drawing/2014/main" id="{7D75CBCD-963F-4975-B34F-CA21485D8285}"/>
                  </a:ext>
                </a:extLst>
              </p:cNvPr>
              <p:cNvSpPr>
                <a:spLocks/>
              </p:cNvSpPr>
              <p:nvPr/>
            </p:nvSpPr>
            <p:spPr bwMode="auto">
              <a:xfrm>
                <a:off x="7675184" y="4265071"/>
                <a:ext cx="7272" cy="9696"/>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4" name="Freeform 222">
                <a:extLst>
                  <a:ext uri="{FF2B5EF4-FFF2-40B4-BE49-F238E27FC236}">
                    <a16:creationId xmlns:a16="http://schemas.microsoft.com/office/drawing/2014/main" id="{A94AC1D7-9E03-40A3-9666-7A1409A4E6D5}"/>
                  </a:ext>
                </a:extLst>
              </p:cNvPr>
              <p:cNvSpPr>
                <a:spLocks noEditPoints="1"/>
              </p:cNvSpPr>
              <p:nvPr/>
            </p:nvSpPr>
            <p:spPr bwMode="auto">
              <a:xfrm>
                <a:off x="7515201" y="4164477"/>
                <a:ext cx="841120" cy="385405"/>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5" name="Freeform 236">
                <a:extLst>
                  <a:ext uri="{FF2B5EF4-FFF2-40B4-BE49-F238E27FC236}">
                    <a16:creationId xmlns:a16="http://schemas.microsoft.com/office/drawing/2014/main" id="{7CAB5BF7-9E59-48CB-B8FA-938C12877FDD}"/>
                  </a:ext>
                </a:extLst>
              </p:cNvPr>
              <p:cNvSpPr>
                <a:spLocks noEditPoints="1"/>
              </p:cNvSpPr>
              <p:nvPr/>
            </p:nvSpPr>
            <p:spPr bwMode="auto">
              <a:xfrm>
                <a:off x="8050899" y="3191268"/>
                <a:ext cx="412076" cy="542961"/>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706" name="Freeform 238">
                <a:extLst>
                  <a:ext uri="{FF2B5EF4-FFF2-40B4-BE49-F238E27FC236}">
                    <a16:creationId xmlns:a16="http://schemas.microsoft.com/office/drawing/2014/main" id="{337D1EC4-2AB3-4A53-A9C2-6A2C7DEE53CC}"/>
                  </a:ext>
                </a:extLst>
              </p:cNvPr>
              <p:cNvSpPr>
                <a:spLocks noEditPoints="1"/>
              </p:cNvSpPr>
              <p:nvPr/>
            </p:nvSpPr>
            <p:spPr bwMode="auto">
              <a:xfrm>
                <a:off x="7847286" y="4540187"/>
                <a:ext cx="765977" cy="813230"/>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707" name="Freeform 7">
                <a:extLst>
                  <a:ext uri="{FF2B5EF4-FFF2-40B4-BE49-F238E27FC236}">
                    <a16:creationId xmlns:a16="http://schemas.microsoft.com/office/drawing/2014/main" id="{627C7E92-604C-421A-8E01-0E4F3A19A71C}"/>
                  </a:ext>
                </a:extLst>
              </p:cNvPr>
              <p:cNvSpPr>
                <a:spLocks/>
              </p:cNvSpPr>
              <p:nvPr/>
            </p:nvSpPr>
            <p:spPr bwMode="auto">
              <a:xfrm>
                <a:off x="5274903" y="2551412"/>
                <a:ext cx="210682" cy="111126"/>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8" name="Freeform 12">
                <a:extLst>
                  <a:ext uri="{FF2B5EF4-FFF2-40B4-BE49-F238E27FC236}">
                    <a16:creationId xmlns:a16="http://schemas.microsoft.com/office/drawing/2014/main" id="{932EBDCE-2AF8-42A7-8695-EEB5D2C2B5DE}"/>
                  </a:ext>
                </a:extLst>
              </p:cNvPr>
              <p:cNvSpPr>
                <a:spLocks/>
              </p:cNvSpPr>
              <p:nvPr/>
            </p:nvSpPr>
            <p:spPr bwMode="auto">
              <a:xfrm>
                <a:off x="4380410" y="1918851"/>
                <a:ext cx="1142495" cy="849927"/>
              </a:xfrm>
              <a:custGeom>
                <a:avLst/>
                <a:gdLst/>
                <a:ahLst/>
                <a:cxnLst>
                  <a:cxn ang="0">
                    <a:pos x="394" y="224"/>
                  </a:cxn>
                  <a:cxn ang="0">
                    <a:pos x="343" y="245"/>
                  </a:cxn>
                  <a:cxn ang="0">
                    <a:pos x="315" y="259"/>
                  </a:cxn>
                  <a:cxn ang="0">
                    <a:pos x="291" y="276"/>
                  </a:cxn>
                  <a:cxn ang="0">
                    <a:pos x="280" y="283"/>
                  </a:cxn>
                  <a:cxn ang="0">
                    <a:pos x="279" y="272"/>
                  </a:cxn>
                  <a:cxn ang="0">
                    <a:pos x="273" y="283"/>
                  </a:cxn>
                  <a:cxn ang="0">
                    <a:pos x="260" y="290"/>
                  </a:cxn>
                  <a:cxn ang="0">
                    <a:pos x="256" y="303"/>
                  </a:cxn>
                  <a:cxn ang="0">
                    <a:pos x="244" y="321"/>
                  </a:cxn>
                  <a:cxn ang="0">
                    <a:pos x="241" y="346"/>
                  </a:cxn>
                  <a:cxn ang="0">
                    <a:pos x="227" y="356"/>
                  </a:cxn>
                  <a:cxn ang="0">
                    <a:pos x="215" y="342"/>
                  </a:cxn>
                  <a:cxn ang="0">
                    <a:pos x="198" y="343"/>
                  </a:cxn>
                  <a:cxn ang="0">
                    <a:pos x="187" y="331"/>
                  </a:cxn>
                  <a:cxn ang="0">
                    <a:pos x="175" y="314"/>
                  </a:cxn>
                  <a:cxn ang="0">
                    <a:pos x="178" y="298"/>
                  </a:cxn>
                  <a:cxn ang="0">
                    <a:pos x="172" y="297"/>
                  </a:cxn>
                  <a:cxn ang="0">
                    <a:pos x="160" y="281"/>
                  </a:cxn>
                  <a:cxn ang="0">
                    <a:pos x="155" y="252"/>
                  </a:cxn>
                  <a:cxn ang="0">
                    <a:pos x="174" y="241"/>
                  </a:cxn>
                  <a:cxn ang="0">
                    <a:pos x="169" y="220"/>
                  </a:cxn>
                  <a:cxn ang="0">
                    <a:pos x="175" y="213"/>
                  </a:cxn>
                  <a:cxn ang="0">
                    <a:pos x="152" y="197"/>
                  </a:cxn>
                  <a:cxn ang="0">
                    <a:pos x="142" y="183"/>
                  </a:cxn>
                  <a:cxn ang="0">
                    <a:pos x="129" y="158"/>
                  </a:cxn>
                  <a:cxn ang="0">
                    <a:pos x="97" y="127"/>
                  </a:cxn>
                  <a:cxn ang="0">
                    <a:pos x="56" y="126"/>
                  </a:cxn>
                  <a:cxn ang="0">
                    <a:pos x="17" y="115"/>
                  </a:cxn>
                  <a:cxn ang="0">
                    <a:pos x="21" y="102"/>
                  </a:cxn>
                  <a:cxn ang="0">
                    <a:pos x="39" y="79"/>
                  </a:cxn>
                  <a:cxn ang="0">
                    <a:pos x="62" y="49"/>
                  </a:cxn>
                  <a:cxn ang="0">
                    <a:pos x="154" y="26"/>
                  </a:cxn>
                  <a:cxn ang="0">
                    <a:pos x="183" y="21"/>
                  </a:cxn>
                  <a:cxn ang="0">
                    <a:pos x="221" y="17"/>
                  </a:cxn>
                  <a:cxn ang="0">
                    <a:pos x="209" y="14"/>
                  </a:cxn>
                  <a:cxn ang="0">
                    <a:pos x="279" y="10"/>
                  </a:cxn>
                  <a:cxn ang="0">
                    <a:pos x="343" y="3"/>
                  </a:cxn>
                  <a:cxn ang="0">
                    <a:pos x="355" y="10"/>
                  </a:cxn>
                  <a:cxn ang="0">
                    <a:pos x="393" y="26"/>
                  </a:cxn>
                  <a:cxn ang="0">
                    <a:pos x="375" y="35"/>
                  </a:cxn>
                  <a:cxn ang="0">
                    <a:pos x="407" y="43"/>
                  </a:cxn>
                  <a:cxn ang="0">
                    <a:pos x="483" y="38"/>
                  </a:cxn>
                  <a:cxn ang="0">
                    <a:pos x="426" y="54"/>
                  </a:cxn>
                  <a:cxn ang="0">
                    <a:pos x="420" y="65"/>
                  </a:cxn>
                  <a:cxn ang="0">
                    <a:pos x="422" y="82"/>
                  </a:cxn>
                  <a:cxn ang="0">
                    <a:pos x="425" y="102"/>
                  </a:cxn>
                  <a:cxn ang="0">
                    <a:pos x="413" y="116"/>
                  </a:cxn>
                  <a:cxn ang="0">
                    <a:pos x="425" y="132"/>
                  </a:cxn>
                  <a:cxn ang="0">
                    <a:pos x="426" y="155"/>
                  </a:cxn>
                  <a:cxn ang="0">
                    <a:pos x="408" y="169"/>
                  </a:cxn>
                  <a:cxn ang="0">
                    <a:pos x="391" y="188"/>
                  </a:cxn>
                  <a:cxn ang="0">
                    <a:pos x="408" y="199"/>
                  </a:cxn>
                  <a:cxn ang="0">
                    <a:pos x="382" y="199"/>
                  </a:cxn>
                  <a:cxn ang="0">
                    <a:pos x="362" y="205"/>
                  </a:cxn>
                  <a:cxn ang="0">
                    <a:pos x="362" y="216"/>
                  </a:cxn>
                </a:cxnLst>
                <a:rect l="0" t="0" r="r" b="b"/>
                <a:pathLst>
                  <a:path w="489" h="359">
                    <a:moveTo>
                      <a:pt x="375" y="216"/>
                    </a:moveTo>
                    <a:cubicBezTo>
                      <a:pt x="382" y="210"/>
                      <a:pt x="387" y="219"/>
                      <a:pt x="396" y="219"/>
                    </a:cubicBezTo>
                    <a:cubicBezTo>
                      <a:pt x="405" y="217"/>
                      <a:pt x="408" y="217"/>
                      <a:pt x="402" y="220"/>
                    </a:cubicBezTo>
                    <a:cubicBezTo>
                      <a:pt x="396" y="222"/>
                      <a:pt x="401" y="224"/>
                      <a:pt x="394" y="224"/>
                    </a:cubicBezTo>
                    <a:cubicBezTo>
                      <a:pt x="390" y="224"/>
                      <a:pt x="396" y="227"/>
                      <a:pt x="390" y="228"/>
                    </a:cubicBezTo>
                    <a:cubicBezTo>
                      <a:pt x="384" y="228"/>
                      <a:pt x="381" y="231"/>
                      <a:pt x="378" y="236"/>
                    </a:cubicBezTo>
                    <a:cubicBezTo>
                      <a:pt x="375" y="239"/>
                      <a:pt x="362" y="239"/>
                      <a:pt x="353" y="242"/>
                    </a:cubicBezTo>
                    <a:cubicBezTo>
                      <a:pt x="344" y="247"/>
                      <a:pt x="344" y="241"/>
                      <a:pt x="343" y="245"/>
                    </a:cubicBezTo>
                    <a:cubicBezTo>
                      <a:pt x="341" y="248"/>
                      <a:pt x="335" y="248"/>
                      <a:pt x="332" y="247"/>
                    </a:cubicBezTo>
                    <a:cubicBezTo>
                      <a:pt x="327" y="245"/>
                      <a:pt x="318" y="238"/>
                      <a:pt x="324" y="244"/>
                    </a:cubicBezTo>
                    <a:cubicBezTo>
                      <a:pt x="329" y="248"/>
                      <a:pt x="327" y="250"/>
                      <a:pt x="324" y="250"/>
                    </a:cubicBezTo>
                    <a:cubicBezTo>
                      <a:pt x="321" y="250"/>
                      <a:pt x="317" y="253"/>
                      <a:pt x="315" y="259"/>
                    </a:cubicBezTo>
                    <a:cubicBezTo>
                      <a:pt x="315" y="264"/>
                      <a:pt x="305" y="273"/>
                      <a:pt x="300" y="273"/>
                    </a:cubicBezTo>
                    <a:cubicBezTo>
                      <a:pt x="300" y="273"/>
                      <a:pt x="300" y="272"/>
                      <a:pt x="298" y="272"/>
                    </a:cubicBezTo>
                    <a:cubicBezTo>
                      <a:pt x="297" y="272"/>
                      <a:pt x="298" y="275"/>
                      <a:pt x="297" y="275"/>
                    </a:cubicBezTo>
                    <a:cubicBezTo>
                      <a:pt x="295" y="275"/>
                      <a:pt x="292" y="278"/>
                      <a:pt x="291" y="276"/>
                    </a:cubicBezTo>
                    <a:cubicBezTo>
                      <a:pt x="288" y="278"/>
                      <a:pt x="288" y="278"/>
                      <a:pt x="288" y="278"/>
                    </a:cubicBezTo>
                    <a:cubicBezTo>
                      <a:pt x="289" y="280"/>
                      <a:pt x="289" y="281"/>
                      <a:pt x="288" y="280"/>
                    </a:cubicBezTo>
                    <a:cubicBezTo>
                      <a:pt x="286" y="278"/>
                      <a:pt x="286" y="280"/>
                      <a:pt x="285" y="281"/>
                    </a:cubicBezTo>
                    <a:cubicBezTo>
                      <a:pt x="283" y="283"/>
                      <a:pt x="282" y="283"/>
                      <a:pt x="280" y="283"/>
                    </a:cubicBezTo>
                    <a:cubicBezTo>
                      <a:pt x="279" y="281"/>
                      <a:pt x="280" y="278"/>
                      <a:pt x="280" y="276"/>
                    </a:cubicBezTo>
                    <a:cubicBezTo>
                      <a:pt x="280" y="275"/>
                      <a:pt x="283" y="275"/>
                      <a:pt x="283" y="273"/>
                    </a:cubicBezTo>
                    <a:cubicBezTo>
                      <a:pt x="283" y="272"/>
                      <a:pt x="286" y="272"/>
                      <a:pt x="283" y="272"/>
                    </a:cubicBezTo>
                    <a:cubicBezTo>
                      <a:pt x="280" y="272"/>
                      <a:pt x="280" y="270"/>
                      <a:pt x="279" y="272"/>
                    </a:cubicBezTo>
                    <a:cubicBezTo>
                      <a:pt x="279" y="272"/>
                      <a:pt x="283" y="273"/>
                      <a:pt x="280" y="275"/>
                    </a:cubicBezTo>
                    <a:cubicBezTo>
                      <a:pt x="277" y="276"/>
                      <a:pt x="280" y="276"/>
                      <a:pt x="279" y="278"/>
                    </a:cubicBezTo>
                    <a:cubicBezTo>
                      <a:pt x="276" y="280"/>
                      <a:pt x="279" y="280"/>
                      <a:pt x="277" y="281"/>
                    </a:cubicBezTo>
                    <a:cubicBezTo>
                      <a:pt x="277" y="283"/>
                      <a:pt x="276" y="281"/>
                      <a:pt x="273" y="283"/>
                    </a:cubicBezTo>
                    <a:cubicBezTo>
                      <a:pt x="270" y="283"/>
                      <a:pt x="268" y="281"/>
                      <a:pt x="266" y="283"/>
                    </a:cubicBezTo>
                    <a:cubicBezTo>
                      <a:pt x="263" y="284"/>
                      <a:pt x="262" y="283"/>
                      <a:pt x="265" y="284"/>
                    </a:cubicBezTo>
                    <a:cubicBezTo>
                      <a:pt x="268" y="286"/>
                      <a:pt x="268" y="287"/>
                      <a:pt x="266" y="286"/>
                    </a:cubicBezTo>
                    <a:cubicBezTo>
                      <a:pt x="263" y="286"/>
                      <a:pt x="263" y="292"/>
                      <a:pt x="260" y="290"/>
                    </a:cubicBezTo>
                    <a:cubicBezTo>
                      <a:pt x="257" y="289"/>
                      <a:pt x="251" y="289"/>
                      <a:pt x="256" y="293"/>
                    </a:cubicBezTo>
                    <a:cubicBezTo>
                      <a:pt x="260" y="298"/>
                      <a:pt x="260" y="300"/>
                      <a:pt x="259" y="300"/>
                    </a:cubicBezTo>
                    <a:cubicBezTo>
                      <a:pt x="256" y="298"/>
                      <a:pt x="256" y="301"/>
                      <a:pt x="253" y="300"/>
                    </a:cubicBezTo>
                    <a:cubicBezTo>
                      <a:pt x="250" y="298"/>
                      <a:pt x="251" y="303"/>
                      <a:pt x="256" y="303"/>
                    </a:cubicBezTo>
                    <a:cubicBezTo>
                      <a:pt x="260" y="303"/>
                      <a:pt x="257" y="303"/>
                      <a:pt x="259" y="306"/>
                    </a:cubicBezTo>
                    <a:cubicBezTo>
                      <a:pt x="259" y="311"/>
                      <a:pt x="254" y="311"/>
                      <a:pt x="254" y="314"/>
                    </a:cubicBezTo>
                    <a:cubicBezTo>
                      <a:pt x="254" y="318"/>
                      <a:pt x="251" y="311"/>
                      <a:pt x="251" y="315"/>
                    </a:cubicBezTo>
                    <a:cubicBezTo>
                      <a:pt x="250" y="321"/>
                      <a:pt x="244" y="318"/>
                      <a:pt x="244" y="321"/>
                    </a:cubicBezTo>
                    <a:cubicBezTo>
                      <a:pt x="242" y="323"/>
                      <a:pt x="245" y="321"/>
                      <a:pt x="245" y="325"/>
                    </a:cubicBezTo>
                    <a:cubicBezTo>
                      <a:pt x="247" y="328"/>
                      <a:pt x="239" y="321"/>
                      <a:pt x="242" y="326"/>
                    </a:cubicBezTo>
                    <a:cubicBezTo>
                      <a:pt x="244" y="329"/>
                      <a:pt x="245" y="325"/>
                      <a:pt x="245" y="329"/>
                    </a:cubicBezTo>
                    <a:cubicBezTo>
                      <a:pt x="247" y="334"/>
                      <a:pt x="239" y="343"/>
                      <a:pt x="241" y="346"/>
                    </a:cubicBezTo>
                    <a:cubicBezTo>
                      <a:pt x="242" y="350"/>
                      <a:pt x="237" y="350"/>
                      <a:pt x="236" y="351"/>
                    </a:cubicBezTo>
                    <a:cubicBezTo>
                      <a:pt x="234" y="354"/>
                      <a:pt x="239" y="350"/>
                      <a:pt x="239" y="354"/>
                    </a:cubicBezTo>
                    <a:cubicBezTo>
                      <a:pt x="239" y="359"/>
                      <a:pt x="236" y="359"/>
                      <a:pt x="233" y="357"/>
                    </a:cubicBezTo>
                    <a:cubicBezTo>
                      <a:pt x="230" y="354"/>
                      <a:pt x="230" y="353"/>
                      <a:pt x="227" y="356"/>
                    </a:cubicBezTo>
                    <a:cubicBezTo>
                      <a:pt x="225" y="357"/>
                      <a:pt x="221" y="357"/>
                      <a:pt x="222" y="353"/>
                    </a:cubicBezTo>
                    <a:cubicBezTo>
                      <a:pt x="227" y="348"/>
                      <a:pt x="221" y="353"/>
                      <a:pt x="218" y="351"/>
                    </a:cubicBezTo>
                    <a:cubicBezTo>
                      <a:pt x="213" y="348"/>
                      <a:pt x="213" y="348"/>
                      <a:pt x="216" y="345"/>
                    </a:cubicBezTo>
                    <a:cubicBezTo>
                      <a:pt x="219" y="342"/>
                      <a:pt x="215" y="339"/>
                      <a:pt x="215" y="342"/>
                    </a:cubicBezTo>
                    <a:cubicBezTo>
                      <a:pt x="216" y="343"/>
                      <a:pt x="212" y="343"/>
                      <a:pt x="210" y="346"/>
                    </a:cubicBezTo>
                    <a:cubicBezTo>
                      <a:pt x="207" y="348"/>
                      <a:pt x="209" y="343"/>
                      <a:pt x="204" y="346"/>
                    </a:cubicBezTo>
                    <a:cubicBezTo>
                      <a:pt x="199" y="350"/>
                      <a:pt x="198" y="348"/>
                      <a:pt x="198" y="345"/>
                    </a:cubicBezTo>
                    <a:cubicBezTo>
                      <a:pt x="196" y="343"/>
                      <a:pt x="199" y="345"/>
                      <a:pt x="198" y="343"/>
                    </a:cubicBezTo>
                    <a:cubicBezTo>
                      <a:pt x="198" y="340"/>
                      <a:pt x="193" y="343"/>
                      <a:pt x="195" y="340"/>
                    </a:cubicBezTo>
                    <a:cubicBezTo>
                      <a:pt x="196" y="337"/>
                      <a:pt x="189" y="340"/>
                      <a:pt x="190" y="337"/>
                    </a:cubicBezTo>
                    <a:cubicBezTo>
                      <a:pt x="192" y="334"/>
                      <a:pt x="192" y="334"/>
                      <a:pt x="189" y="334"/>
                    </a:cubicBezTo>
                    <a:cubicBezTo>
                      <a:pt x="187" y="336"/>
                      <a:pt x="190" y="329"/>
                      <a:pt x="187" y="331"/>
                    </a:cubicBezTo>
                    <a:cubicBezTo>
                      <a:pt x="184" y="332"/>
                      <a:pt x="189" y="328"/>
                      <a:pt x="184" y="326"/>
                    </a:cubicBezTo>
                    <a:cubicBezTo>
                      <a:pt x="181" y="325"/>
                      <a:pt x="181" y="325"/>
                      <a:pt x="181" y="323"/>
                    </a:cubicBezTo>
                    <a:cubicBezTo>
                      <a:pt x="181" y="320"/>
                      <a:pt x="178" y="318"/>
                      <a:pt x="180" y="317"/>
                    </a:cubicBezTo>
                    <a:cubicBezTo>
                      <a:pt x="180" y="314"/>
                      <a:pt x="177" y="317"/>
                      <a:pt x="175" y="314"/>
                    </a:cubicBezTo>
                    <a:cubicBezTo>
                      <a:pt x="174" y="311"/>
                      <a:pt x="170" y="307"/>
                      <a:pt x="172" y="306"/>
                    </a:cubicBezTo>
                    <a:cubicBezTo>
                      <a:pt x="174" y="304"/>
                      <a:pt x="169" y="304"/>
                      <a:pt x="172" y="303"/>
                    </a:cubicBezTo>
                    <a:cubicBezTo>
                      <a:pt x="174" y="303"/>
                      <a:pt x="167" y="301"/>
                      <a:pt x="174" y="301"/>
                    </a:cubicBezTo>
                    <a:cubicBezTo>
                      <a:pt x="178" y="301"/>
                      <a:pt x="172" y="298"/>
                      <a:pt x="178" y="298"/>
                    </a:cubicBezTo>
                    <a:cubicBezTo>
                      <a:pt x="183" y="298"/>
                      <a:pt x="175" y="297"/>
                      <a:pt x="178" y="295"/>
                    </a:cubicBezTo>
                    <a:cubicBezTo>
                      <a:pt x="181" y="293"/>
                      <a:pt x="184" y="300"/>
                      <a:pt x="184" y="297"/>
                    </a:cubicBezTo>
                    <a:cubicBezTo>
                      <a:pt x="183" y="293"/>
                      <a:pt x="180" y="292"/>
                      <a:pt x="177" y="295"/>
                    </a:cubicBezTo>
                    <a:cubicBezTo>
                      <a:pt x="174" y="297"/>
                      <a:pt x="177" y="289"/>
                      <a:pt x="172" y="297"/>
                    </a:cubicBezTo>
                    <a:cubicBezTo>
                      <a:pt x="167" y="304"/>
                      <a:pt x="166" y="298"/>
                      <a:pt x="167" y="295"/>
                    </a:cubicBezTo>
                    <a:cubicBezTo>
                      <a:pt x="167" y="292"/>
                      <a:pt x="166" y="295"/>
                      <a:pt x="166" y="290"/>
                    </a:cubicBezTo>
                    <a:cubicBezTo>
                      <a:pt x="166" y="287"/>
                      <a:pt x="163" y="289"/>
                      <a:pt x="163" y="286"/>
                    </a:cubicBezTo>
                    <a:cubicBezTo>
                      <a:pt x="164" y="283"/>
                      <a:pt x="161" y="281"/>
                      <a:pt x="160" y="281"/>
                    </a:cubicBezTo>
                    <a:cubicBezTo>
                      <a:pt x="157" y="281"/>
                      <a:pt x="160" y="280"/>
                      <a:pt x="155" y="276"/>
                    </a:cubicBezTo>
                    <a:cubicBezTo>
                      <a:pt x="152" y="273"/>
                      <a:pt x="155" y="267"/>
                      <a:pt x="161" y="264"/>
                    </a:cubicBezTo>
                    <a:cubicBezTo>
                      <a:pt x="155" y="264"/>
                      <a:pt x="151" y="264"/>
                      <a:pt x="152" y="259"/>
                    </a:cubicBezTo>
                    <a:cubicBezTo>
                      <a:pt x="154" y="255"/>
                      <a:pt x="155" y="253"/>
                      <a:pt x="155" y="252"/>
                    </a:cubicBezTo>
                    <a:cubicBezTo>
                      <a:pt x="154" y="250"/>
                      <a:pt x="161" y="248"/>
                      <a:pt x="158" y="247"/>
                    </a:cubicBezTo>
                    <a:cubicBezTo>
                      <a:pt x="155" y="244"/>
                      <a:pt x="158" y="245"/>
                      <a:pt x="157" y="244"/>
                    </a:cubicBezTo>
                    <a:cubicBezTo>
                      <a:pt x="157" y="242"/>
                      <a:pt x="161" y="244"/>
                      <a:pt x="163" y="241"/>
                    </a:cubicBezTo>
                    <a:cubicBezTo>
                      <a:pt x="166" y="239"/>
                      <a:pt x="169" y="242"/>
                      <a:pt x="174" y="241"/>
                    </a:cubicBezTo>
                    <a:cubicBezTo>
                      <a:pt x="178" y="239"/>
                      <a:pt x="174" y="239"/>
                      <a:pt x="174" y="234"/>
                    </a:cubicBezTo>
                    <a:cubicBezTo>
                      <a:pt x="175" y="231"/>
                      <a:pt x="178" y="227"/>
                      <a:pt x="178" y="224"/>
                    </a:cubicBezTo>
                    <a:cubicBezTo>
                      <a:pt x="177" y="220"/>
                      <a:pt x="175" y="228"/>
                      <a:pt x="174" y="225"/>
                    </a:cubicBezTo>
                    <a:cubicBezTo>
                      <a:pt x="172" y="224"/>
                      <a:pt x="178" y="220"/>
                      <a:pt x="169" y="220"/>
                    </a:cubicBezTo>
                    <a:cubicBezTo>
                      <a:pt x="161" y="219"/>
                      <a:pt x="164" y="214"/>
                      <a:pt x="157" y="214"/>
                    </a:cubicBezTo>
                    <a:cubicBezTo>
                      <a:pt x="152" y="214"/>
                      <a:pt x="146" y="211"/>
                      <a:pt x="148" y="210"/>
                    </a:cubicBezTo>
                    <a:cubicBezTo>
                      <a:pt x="151" y="206"/>
                      <a:pt x="163" y="208"/>
                      <a:pt x="166" y="210"/>
                    </a:cubicBezTo>
                    <a:cubicBezTo>
                      <a:pt x="170" y="213"/>
                      <a:pt x="177" y="214"/>
                      <a:pt x="175" y="213"/>
                    </a:cubicBezTo>
                    <a:cubicBezTo>
                      <a:pt x="174" y="211"/>
                      <a:pt x="172" y="210"/>
                      <a:pt x="175" y="206"/>
                    </a:cubicBezTo>
                    <a:cubicBezTo>
                      <a:pt x="175" y="206"/>
                      <a:pt x="163" y="205"/>
                      <a:pt x="164" y="202"/>
                    </a:cubicBezTo>
                    <a:cubicBezTo>
                      <a:pt x="167" y="197"/>
                      <a:pt x="158" y="200"/>
                      <a:pt x="163" y="197"/>
                    </a:cubicBezTo>
                    <a:cubicBezTo>
                      <a:pt x="166" y="196"/>
                      <a:pt x="155" y="191"/>
                      <a:pt x="152" y="197"/>
                    </a:cubicBezTo>
                    <a:cubicBezTo>
                      <a:pt x="151" y="203"/>
                      <a:pt x="145" y="197"/>
                      <a:pt x="142" y="199"/>
                    </a:cubicBezTo>
                    <a:cubicBezTo>
                      <a:pt x="140" y="200"/>
                      <a:pt x="138" y="197"/>
                      <a:pt x="137" y="196"/>
                    </a:cubicBezTo>
                    <a:cubicBezTo>
                      <a:pt x="135" y="192"/>
                      <a:pt x="145" y="194"/>
                      <a:pt x="142" y="191"/>
                    </a:cubicBezTo>
                    <a:cubicBezTo>
                      <a:pt x="137" y="186"/>
                      <a:pt x="137" y="183"/>
                      <a:pt x="142" y="183"/>
                    </a:cubicBezTo>
                    <a:cubicBezTo>
                      <a:pt x="146" y="182"/>
                      <a:pt x="149" y="175"/>
                      <a:pt x="142" y="174"/>
                    </a:cubicBezTo>
                    <a:cubicBezTo>
                      <a:pt x="135" y="172"/>
                      <a:pt x="146" y="169"/>
                      <a:pt x="140" y="166"/>
                    </a:cubicBezTo>
                    <a:cubicBezTo>
                      <a:pt x="131" y="163"/>
                      <a:pt x="142" y="163"/>
                      <a:pt x="135" y="160"/>
                    </a:cubicBezTo>
                    <a:cubicBezTo>
                      <a:pt x="132" y="158"/>
                      <a:pt x="135" y="155"/>
                      <a:pt x="129" y="158"/>
                    </a:cubicBezTo>
                    <a:cubicBezTo>
                      <a:pt x="122" y="160"/>
                      <a:pt x="129" y="155"/>
                      <a:pt x="131" y="152"/>
                    </a:cubicBezTo>
                    <a:cubicBezTo>
                      <a:pt x="132" y="149"/>
                      <a:pt x="113" y="141"/>
                      <a:pt x="116" y="138"/>
                    </a:cubicBezTo>
                    <a:cubicBezTo>
                      <a:pt x="120" y="135"/>
                      <a:pt x="116" y="135"/>
                      <a:pt x="108" y="130"/>
                    </a:cubicBezTo>
                    <a:cubicBezTo>
                      <a:pt x="100" y="127"/>
                      <a:pt x="100" y="130"/>
                      <a:pt x="97" y="127"/>
                    </a:cubicBezTo>
                    <a:cubicBezTo>
                      <a:pt x="94" y="124"/>
                      <a:pt x="87" y="127"/>
                      <a:pt x="81" y="124"/>
                    </a:cubicBezTo>
                    <a:cubicBezTo>
                      <a:pt x="75" y="122"/>
                      <a:pt x="76" y="130"/>
                      <a:pt x="71" y="126"/>
                    </a:cubicBezTo>
                    <a:cubicBezTo>
                      <a:pt x="67" y="122"/>
                      <a:pt x="68" y="129"/>
                      <a:pt x="61" y="129"/>
                    </a:cubicBezTo>
                    <a:cubicBezTo>
                      <a:pt x="55" y="127"/>
                      <a:pt x="62" y="122"/>
                      <a:pt x="56" y="126"/>
                    </a:cubicBezTo>
                    <a:cubicBezTo>
                      <a:pt x="49" y="129"/>
                      <a:pt x="52" y="122"/>
                      <a:pt x="49" y="124"/>
                    </a:cubicBezTo>
                    <a:cubicBezTo>
                      <a:pt x="44" y="126"/>
                      <a:pt x="58" y="133"/>
                      <a:pt x="47" y="129"/>
                    </a:cubicBezTo>
                    <a:cubicBezTo>
                      <a:pt x="35" y="126"/>
                      <a:pt x="23" y="124"/>
                      <a:pt x="32" y="121"/>
                    </a:cubicBezTo>
                    <a:cubicBezTo>
                      <a:pt x="41" y="118"/>
                      <a:pt x="23" y="118"/>
                      <a:pt x="17" y="115"/>
                    </a:cubicBezTo>
                    <a:cubicBezTo>
                      <a:pt x="9" y="112"/>
                      <a:pt x="24" y="108"/>
                      <a:pt x="36" y="107"/>
                    </a:cubicBezTo>
                    <a:cubicBezTo>
                      <a:pt x="49" y="107"/>
                      <a:pt x="58" y="107"/>
                      <a:pt x="56" y="104"/>
                    </a:cubicBezTo>
                    <a:cubicBezTo>
                      <a:pt x="55" y="101"/>
                      <a:pt x="46" y="105"/>
                      <a:pt x="36" y="105"/>
                    </a:cubicBezTo>
                    <a:cubicBezTo>
                      <a:pt x="27" y="105"/>
                      <a:pt x="24" y="105"/>
                      <a:pt x="21" y="102"/>
                    </a:cubicBezTo>
                    <a:cubicBezTo>
                      <a:pt x="18" y="99"/>
                      <a:pt x="17" y="102"/>
                      <a:pt x="14" y="99"/>
                    </a:cubicBezTo>
                    <a:cubicBezTo>
                      <a:pt x="10" y="98"/>
                      <a:pt x="9" y="101"/>
                      <a:pt x="4" y="96"/>
                    </a:cubicBezTo>
                    <a:cubicBezTo>
                      <a:pt x="0" y="91"/>
                      <a:pt x="1" y="88"/>
                      <a:pt x="20" y="85"/>
                    </a:cubicBezTo>
                    <a:cubicBezTo>
                      <a:pt x="36" y="82"/>
                      <a:pt x="29" y="80"/>
                      <a:pt x="39" y="79"/>
                    </a:cubicBezTo>
                    <a:cubicBezTo>
                      <a:pt x="50" y="77"/>
                      <a:pt x="56" y="82"/>
                      <a:pt x="61" y="76"/>
                    </a:cubicBezTo>
                    <a:cubicBezTo>
                      <a:pt x="67" y="70"/>
                      <a:pt x="67" y="62"/>
                      <a:pt x="62" y="63"/>
                    </a:cubicBezTo>
                    <a:cubicBezTo>
                      <a:pt x="58" y="63"/>
                      <a:pt x="49" y="63"/>
                      <a:pt x="46" y="60"/>
                    </a:cubicBezTo>
                    <a:cubicBezTo>
                      <a:pt x="44" y="57"/>
                      <a:pt x="55" y="54"/>
                      <a:pt x="62" y="49"/>
                    </a:cubicBezTo>
                    <a:cubicBezTo>
                      <a:pt x="70" y="45"/>
                      <a:pt x="79" y="42"/>
                      <a:pt x="90" y="45"/>
                    </a:cubicBezTo>
                    <a:cubicBezTo>
                      <a:pt x="97" y="46"/>
                      <a:pt x="99" y="42"/>
                      <a:pt x="94" y="37"/>
                    </a:cubicBezTo>
                    <a:cubicBezTo>
                      <a:pt x="91" y="32"/>
                      <a:pt x="97" y="29"/>
                      <a:pt x="120" y="28"/>
                    </a:cubicBezTo>
                    <a:cubicBezTo>
                      <a:pt x="145" y="24"/>
                      <a:pt x="148" y="20"/>
                      <a:pt x="154" y="26"/>
                    </a:cubicBezTo>
                    <a:cubicBezTo>
                      <a:pt x="160" y="34"/>
                      <a:pt x="149" y="46"/>
                      <a:pt x="157" y="35"/>
                    </a:cubicBezTo>
                    <a:cubicBezTo>
                      <a:pt x="163" y="24"/>
                      <a:pt x="178" y="37"/>
                      <a:pt x="177" y="34"/>
                    </a:cubicBezTo>
                    <a:cubicBezTo>
                      <a:pt x="174" y="28"/>
                      <a:pt x="192" y="35"/>
                      <a:pt x="183" y="29"/>
                    </a:cubicBezTo>
                    <a:cubicBezTo>
                      <a:pt x="172" y="23"/>
                      <a:pt x="170" y="20"/>
                      <a:pt x="183" y="21"/>
                    </a:cubicBezTo>
                    <a:cubicBezTo>
                      <a:pt x="195" y="21"/>
                      <a:pt x="199" y="26"/>
                      <a:pt x="210" y="28"/>
                    </a:cubicBezTo>
                    <a:cubicBezTo>
                      <a:pt x="221" y="29"/>
                      <a:pt x="219" y="35"/>
                      <a:pt x="225" y="34"/>
                    </a:cubicBezTo>
                    <a:cubicBezTo>
                      <a:pt x="231" y="34"/>
                      <a:pt x="221" y="26"/>
                      <a:pt x="230" y="24"/>
                    </a:cubicBezTo>
                    <a:cubicBezTo>
                      <a:pt x="244" y="23"/>
                      <a:pt x="206" y="15"/>
                      <a:pt x="221" y="17"/>
                    </a:cubicBezTo>
                    <a:cubicBezTo>
                      <a:pt x="237" y="17"/>
                      <a:pt x="248" y="17"/>
                      <a:pt x="254" y="18"/>
                    </a:cubicBezTo>
                    <a:cubicBezTo>
                      <a:pt x="262" y="21"/>
                      <a:pt x="270" y="20"/>
                      <a:pt x="260" y="18"/>
                    </a:cubicBezTo>
                    <a:cubicBezTo>
                      <a:pt x="253" y="17"/>
                      <a:pt x="244" y="15"/>
                      <a:pt x="233" y="15"/>
                    </a:cubicBezTo>
                    <a:cubicBezTo>
                      <a:pt x="222" y="14"/>
                      <a:pt x="210" y="15"/>
                      <a:pt x="209" y="14"/>
                    </a:cubicBezTo>
                    <a:cubicBezTo>
                      <a:pt x="207" y="10"/>
                      <a:pt x="219" y="10"/>
                      <a:pt x="230" y="9"/>
                    </a:cubicBezTo>
                    <a:cubicBezTo>
                      <a:pt x="241" y="7"/>
                      <a:pt x="248" y="9"/>
                      <a:pt x="254" y="12"/>
                    </a:cubicBezTo>
                    <a:cubicBezTo>
                      <a:pt x="260" y="15"/>
                      <a:pt x="271" y="14"/>
                      <a:pt x="273" y="12"/>
                    </a:cubicBezTo>
                    <a:cubicBezTo>
                      <a:pt x="274" y="12"/>
                      <a:pt x="286" y="10"/>
                      <a:pt x="279" y="10"/>
                    </a:cubicBezTo>
                    <a:cubicBezTo>
                      <a:pt x="271" y="9"/>
                      <a:pt x="270" y="4"/>
                      <a:pt x="274" y="4"/>
                    </a:cubicBezTo>
                    <a:cubicBezTo>
                      <a:pt x="280" y="4"/>
                      <a:pt x="279" y="3"/>
                      <a:pt x="286" y="4"/>
                    </a:cubicBezTo>
                    <a:cubicBezTo>
                      <a:pt x="294" y="6"/>
                      <a:pt x="283" y="1"/>
                      <a:pt x="298" y="3"/>
                    </a:cubicBezTo>
                    <a:cubicBezTo>
                      <a:pt x="314" y="3"/>
                      <a:pt x="317" y="0"/>
                      <a:pt x="343" y="3"/>
                    </a:cubicBezTo>
                    <a:cubicBezTo>
                      <a:pt x="359" y="4"/>
                      <a:pt x="384" y="7"/>
                      <a:pt x="376" y="7"/>
                    </a:cubicBezTo>
                    <a:cubicBezTo>
                      <a:pt x="369" y="9"/>
                      <a:pt x="343" y="9"/>
                      <a:pt x="335" y="10"/>
                    </a:cubicBezTo>
                    <a:cubicBezTo>
                      <a:pt x="327" y="12"/>
                      <a:pt x="314" y="12"/>
                      <a:pt x="324" y="14"/>
                    </a:cubicBezTo>
                    <a:cubicBezTo>
                      <a:pt x="337" y="15"/>
                      <a:pt x="340" y="9"/>
                      <a:pt x="355" y="10"/>
                    </a:cubicBezTo>
                    <a:cubicBezTo>
                      <a:pt x="372" y="14"/>
                      <a:pt x="378" y="7"/>
                      <a:pt x="382" y="10"/>
                    </a:cubicBezTo>
                    <a:cubicBezTo>
                      <a:pt x="388" y="14"/>
                      <a:pt x="372" y="18"/>
                      <a:pt x="382" y="15"/>
                    </a:cubicBezTo>
                    <a:cubicBezTo>
                      <a:pt x="393" y="14"/>
                      <a:pt x="401" y="17"/>
                      <a:pt x="408" y="18"/>
                    </a:cubicBezTo>
                    <a:cubicBezTo>
                      <a:pt x="416" y="20"/>
                      <a:pt x="402" y="24"/>
                      <a:pt x="393" y="26"/>
                    </a:cubicBezTo>
                    <a:cubicBezTo>
                      <a:pt x="379" y="29"/>
                      <a:pt x="361" y="26"/>
                      <a:pt x="346" y="28"/>
                    </a:cubicBezTo>
                    <a:cubicBezTo>
                      <a:pt x="330" y="31"/>
                      <a:pt x="314" y="32"/>
                      <a:pt x="318" y="37"/>
                    </a:cubicBezTo>
                    <a:cubicBezTo>
                      <a:pt x="321" y="38"/>
                      <a:pt x="346" y="29"/>
                      <a:pt x="367" y="29"/>
                    </a:cubicBezTo>
                    <a:cubicBezTo>
                      <a:pt x="387" y="31"/>
                      <a:pt x="382" y="32"/>
                      <a:pt x="375" y="35"/>
                    </a:cubicBezTo>
                    <a:cubicBezTo>
                      <a:pt x="367" y="38"/>
                      <a:pt x="376" y="38"/>
                      <a:pt x="384" y="35"/>
                    </a:cubicBezTo>
                    <a:cubicBezTo>
                      <a:pt x="393" y="34"/>
                      <a:pt x="384" y="29"/>
                      <a:pt x="397" y="29"/>
                    </a:cubicBezTo>
                    <a:cubicBezTo>
                      <a:pt x="411" y="29"/>
                      <a:pt x="408" y="37"/>
                      <a:pt x="397" y="45"/>
                    </a:cubicBezTo>
                    <a:cubicBezTo>
                      <a:pt x="387" y="52"/>
                      <a:pt x="394" y="52"/>
                      <a:pt x="407" y="43"/>
                    </a:cubicBezTo>
                    <a:cubicBezTo>
                      <a:pt x="419" y="35"/>
                      <a:pt x="425" y="34"/>
                      <a:pt x="422" y="37"/>
                    </a:cubicBezTo>
                    <a:cubicBezTo>
                      <a:pt x="419" y="40"/>
                      <a:pt x="426" y="37"/>
                      <a:pt x="432" y="38"/>
                    </a:cubicBezTo>
                    <a:cubicBezTo>
                      <a:pt x="439" y="40"/>
                      <a:pt x="436" y="32"/>
                      <a:pt x="448" y="31"/>
                    </a:cubicBezTo>
                    <a:cubicBezTo>
                      <a:pt x="460" y="31"/>
                      <a:pt x="489" y="35"/>
                      <a:pt x="483" y="38"/>
                    </a:cubicBezTo>
                    <a:cubicBezTo>
                      <a:pt x="475" y="42"/>
                      <a:pt x="472" y="45"/>
                      <a:pt x="464" y="45"/>
                    </a:cubicBezTo>
                    <a:cubicBezTo>
                      <a:pt x="454" y="45"/>
                      <a:pt x="471" y="49"/>
                      <a:pt x="461" y="49"/>
                    </a:cubicBezTo>
                    <a:cubicBezTo>
                      <a:pt x="452" y="51"/>
                      <a:pt x="448" y="52"/>
                      <a:pt x="442" y="51"/>
                    </a:cubicBezTo>
                    <a:cubicBezTo>
                      <a:pt x="436" y="49"/>
                      <a:pt x="437" y="54"/>
                      <a:pt x="426" y="54"/>
                    </a:cubicBezTo>
                    <a:cubicBezTo>
                      <a:pt x="416" y="52"/>
                      <a:pt x="434" y="56"/>
                      <a:pt x="440" y="54"/>
                    </a:cubicBezTo>
                    <a:cubicBezTo>
                      <a:pt x="445" y="52"/>
                      <a:pt x="457" y="54"/>
                      <a:pt x="451" y="57"/>
                    </a:cubicBezTo>
                    <a:cubicBezTo>
                      <a:pt x="446" y="59"/>
                      <a:pt x="437" y="62"/>
                      <a:pt x="429" y="59"/>
                    </a:cubicBezTo>
                    <a:cubicBezTo>
                      <a:pt x="422" y="57"/>
                      <a:pt x="411" y="68"/>
                      <a:pt x="420" y="65"/>
                    </a:cubicBezTo>
                    <a:cubicBezTo>
                      <a:pt x="429" y="62"/>
                      <a:pt x="445" y="60"/>
                      <a:pt x="442" y="63"/>
                    </a:cubicBezTo>
                    <a:cubicBezTo>
                      <a:pt x="437" y="68"/>
                      <a:pt x="436" y="68"/>
                      <a:pt x="429" y="68"/>
                    </a:cubicBezTo>
                    <a:cubicBezTo>
                      <a:pt x="423" y="68"/>
                      <a:pt x="423" y="74"/>
                      <a:pt x="428" y="74"/>
                    </a:cubicBezTo>
                    <a:cubicBezTo>
                      <a:pt x="432" y="76"/>
                      <a:pt x="425" y="80"/>
                      <a:pt x="422" y="82"/>
                    </a:cubicBezTo>
                    <a:cubicBezTo>
                      <a:pt x="420" y="84"/>
                      <a:pt x="416" y="79"/>
                      <a:pt x="413" y="87"/>
                    </a:cubicBezTo>
                    <a:cubicBezTo>
                      <a:pt x="411" y="94"/>
                      <a:pt x="404" y="102"/>
                      <a:pt x="408" y="102"/>
                    </a:cubicBezTo>
                    <a:cubicBezTo>
                      <a:pt x="413" y="102"/>
                      <a:pt x="407" y="93"/>
                      <a:pt x="420" y="98"/>
                    </a:cubicBezTo>
                    <a:cubicBezTo>
                      <a:pt x="432" y="102"/>
                      <a:pt x="434" y="105"/>
                      <a:pt x="425" y="102"/>
                    </a:cubicBezTo>
                    <a:cubicBezTo>
                      <a:pt x="416" y="101"/>
                      <a:pt x="413" y="101"/>
                      <a:pt x="422" y="107"/>
                    </a:cubicBezTo>
                    <a:cubicBezTo>
                      <a:pt x="431" y="112"/>
                      <a:pt x="429" y="104"/>
                      <a:pt x="434" y="107"/>
                    </a:cubicBezTo>
                    <a:cubicBezTo>
                      <a:pt x="440" y="112"/>
                      <a:pt x="437" y="119"/>
                      <a:pt x="431" y="116"/>
                    </a:cubicBezTo>
                    <a:cubicBezTo>
                      <a:pt x="426" y="115"/>
                      <a:pt x="419" y="112"/>
                      <a:pt x="413" y="116"/>
                    </a:cubicBezTo>
                    <a:cubicBezTo>
                      <a:pt x="405" y="121"/>
                      <a:pt x="407" y="112"/>
                      <a:pt x="402" y="116"/>
                    </a:cubicBezTo>
                    <a:cubicBezTo>
                      <a:pt x="397" y="119"/>
                      <a:pt x="408" y="118"/>
                      <a:pt x="408" y="122"/>
                    </a:cubicBezTo>
                    <a:cubicBezTo>
                      <a:pt x="408" y="127"/>
                      <a:pt x="422" y="122"/>
                      <a:pt x="423" y="126"/>
                    </a:cubicBezTo>
                    <a:cubicBezTo>
                      <a:pt x="426" y="129"/>
                      <a:pt x="416" y="127"/>
                      <a:pt x="425" y="132"/>
                    </a:cubicBezTo>
                    <a:cubicBezTo>
                      <a:pt x="432" y="135"/>
                      <a:pt x="423" y="130"/>
                      <a:pt x="426" y="136"/>
                    </a:cubicBezTo>
                    <a:cubicBezTo>
                      <a:pt x="431" y="141"/>
                      <a:pt x="423" y="144"/>
                      <a:pt x="422" y="141"/>
                    </a:cubicBezTo>
                    <a:cubicBezTo>
                      <a:pt x="419" y="136"/>
                      <a:pt x="411" y="149"/>
                      <a:pt x="420" y="149"/>
                    </a:cubicBezTo>
                    <a:cubicBezTo>
                      <a:pt x="428" y="150"/>
                      <a:pt x="431" y="154"/>
                      <a:pt x="426" y="155"/>
                    </a:cubicBezTo>
                    <a:cubicBezTo>
                      <a:pt x="419" y="158"/>
                      <a:pt x="422" y="154"/>
                      <a:pt x="414" y="152"/>
                    </a:cubicBezTo>
                    <a:cubicBezTo>
                      <a:pt x="407" y="152"/>
                      <a:pt x="399" y="160"/>
                      <a:pt x="407" y="160"/>
                    </a:cubicBezTo>
                    <a:cubicBezTo>
                      <a:pt x="414" y="160"/>
                      <a:pt x="422" y="160"/>
                      <a:pt x="419" y="166"/>
                    </a:cubicBezTo>
                    <a:cubicBezTo>
                      <a:pt x="414" y="171"/>
                      <a:pt x="414" y="164"/>
                      <a:pt x="408" y="169"/>
                    </a:cubicBezTo>
                    <a:cubicBezTo>
                      <a:pt x="401" y="175"/>
                      <a:pt x="393" y="163"/>
                      <a:pt x="385" y="166"/>
                    </a:cubicBezTo>
                    <a:cubicBezTo>
                      <a:pt x="379" y="168"/>
                      <a:pt x="378" y="172"/>
                      <a:pt x="372" y="171"/>
                    </a:cubicBezTo>
                    <a:cubicBezTo>
                      <a:pt x="388" y="175"/>
                      <a:pt x="376" y="175"/>
                      <a:pt x="382" y="178"/>
                    </a:cubicBezTo>
                    <a:cubicBezTo>
                      <a:pt x="390" y="183"/>
                      <a:pt x="379" y="183"/>
                      <a:pt x="391" y="188"/>
                    </a:cubicBezTo>
                    <a:cubicBezTo>
                      <a:pt x="399" y="189"/>
                      <a:pt x="404" y="189"/>
                      <a:pt x="402" y="194"/>
                    </a:cubicBezTo>
                    <a:cubicBezTo>
                      <a:pt x="401" y="197"/>
                      <a:pt x="410" y="191"/>
                      <a:pt x="407" y="194"/>
                    </a:cubicBezTo>
                    <a:cubicBezTo>
                      <a:pt x="402" y="199"/>
                      <a:pt x="401" y="196"/>
                      <a:pt x="402" y="199"/>
                    </a:cubicBezTo>
                    <a:cubicBezTo>
                      <a:pt x="404" y="203"/>
                      <a:pt x="410" y="192"/>
                      <a:pt x="408" y="199"/>
                    </a:cubicBezTo>
                    <a:cubicBezTo>
                      <a:pt x="408" y="205"/>
                      <a:pt x="413" y="214"/>
                      <a:pt x="408" y="213"/>
                    </a:cubicBezTo>
                    <a:cubicBezTo>
                      <a:pt x="404" y="213"/>
                      <a:pt x="404" y="211"/>
                      <a:pt x="401" y="213"/>
                    </a:cubicBezTo>
                    <a:cubicBezTo>
                      <a:pt x="397" y="214"/>
                      <a:pt x="388" y="211"/>
                      <a:pt x="388" y="206"/>
                    </a:cubicBezTo>
                    <a:cubicBezTo>
                      <a:pt x="388" y="202"/>
                      <a:pt x="387" y="200"/>
                      <a:pt x="382" y="199"/>
                    </a:cubicBezTo>
                    <a:cubicBezTo>
                      <a:pt x="379" y="199"/>
                      <a:pt x="378" y="196"/>
                      <a:pt x="370" y="196"/>
                    </a:cubicBezTo>
                    <a:cubicBezTo>
                      <a:pt x="364" y="196"/>
                      <a:pt x="364" y="197"/>
                      <a:pt x="372" y="197"/>
                    </a:cubicBezTo>
                    <a:cubicBezTo>
                      <a:pt x="379" y="199"/>
                      <a:pt x="381" y="202"/>
                      <a:pt x="373" y="205"/>
                    </a:cubicBezTo>
                    <a:cubicBezTo>
                      <a:pt x="365" y="206"/>
                      <a:pt x="364" y="208"/>
                      <a:pt x="362" y="205"/>
                    </a:cubicBezTo>
                    <a:cubicBezTo>
                      <a:pt x="361" y="203"/>
                      <a:pt x="361" y="205"/>
                      <a:pt x="358" y="210"/>
                    </a:cubicBezTo>
                    <a:cubicBezTo>
                      <a:pt x="353" y="216"/>
                      <a:pt x="356" y="214"/>
                      <a:pt x="365" y="213"/>
                    </a:cubicBezTo>
                    <a:cubicBezTo>
                      <a:pt x="373" y="211"/>
                      <a:pt x="373" y="213"/>
                      <a:pt x="370" y="214"/>
                    </a:cubicBezTo>
                    <a:cubicBezTo>
                      <a:pt x="369" y="216"/>
                      <a:pt x="369" y="213"/>
                      <a:pt x="362" y="216"/>
                    </a:cubicBezTo>
                    <a:cubicBezTo>
                      <a:pt x="358" y="220"/>
                      <a:pt x="361" y="222"/>
                      <a:pt x="364" y="219"/>
                    </a:cubicBezTo>
                    <a:cubicBezTo>
                      <a:pt x="369" y="214"/>
                      <a:pt x="370" y="217"/>
                      <a:pt x="375" y="21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09" name="Freeform 153">
                <a:extLst>
                  <a:ext uri="{FF2B5EF4-FFF2-40B4-BE49-F238E27FC236}">
                    <a16:creationId xmlns:a16="http://schemas.microsoft.com/office/drawing/2014/main" id="{21228F10-BB1E-4E59-9FB9-CF1539545ABF}"/>
                  </a:ext>
                </a:extLst>
              </p:cNvPr>
              <p:cNvSpPr>
                <a:spLocks/>
              </p:cNvSpPr>
              <p:nvPr/>
            </p:nvSpPr>
            <p:spPr bwMode="auto">
              <a:xfrm>
                <a:off x="5266476" y="3897130"/>
                <a:ext cx="8427" cy="10990"/>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0" name="Freeform 154">
                <a:extLst>
                  <a:ext uri="{FF2B5EF4-FFF2-40B4-BE49-F238E27FC236}">
                    <a16:creationId xmlns:a16="http://schemas.microsoft.com/office/drawing/2014/main" id="{B90098CE-CE74-43E2-A665-0A290ED47940}"/>
                  </a:ext>
                </a:extLst>
              </p:cNvPr>
              <p:cNvSpPr>
                <a:spLocks/>
              </p:cNvSpPr>
              <p:nvPr/>
            </p:nvSpPr>
            <p:spPr bwMode="auto">
              <a:xfrm>
                <a:off x="5282127" y="3908120"/>
                <a:ext cx="9632" cy="7326"/>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1" name="Freeform 155">
                <a:extLst>
                  <a:ext uri="{FF2B5EF4-FFF2-40B4-BE49-F238E27FC236}">
                    <a16:creationId xmlns:a16="http://schemas.microsoft.com/office/drawing/2014/main" id="{163DC16D-5A02-4785-A3E7-A84B6E6F7024}"/>
                  </a:ext>
                </a:extLst>
              </p:cNvPr>
              <p:cNvSpPr>
                <a:spLocks/>
              </p:cNvSpPr>
              <p:nvPr/>
            </p:nvSpPr>
            <p:spPr bwMode="auto">
              <a:xfrm>
                <a:off x="5279718" y="3945976"/>
                <a:ext cx="7224" cy="9770"/>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2" name="Freeform 270">
                <a:extLst>
                  <a:ext uri="{FF2B5EF4-FFF2-40B4-BE49-F238E27FC236}">
                    <a16:creationId xmlns:a16="http://schemas.microsoft.com/office/drawing/2014/main" id="{DA2A2536-765E-4F20-B962-276B9E998931}"/>
                  </a:ext>
                </a:extLst>
              </p:cNvPr>
              <p:cNvSpPr>
                <a:spLocks/>
              </p:cNvSpPr>
              <p:nvPr/>
            </p:nvSpPr>
            <p:spPr bwMode="auto">
              <a:xfrm>
                <a:off x="5254437" y="3383022"/>
                <a:ext cx="18059" cy="8548"/>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3" name="Freeform 271">
                <a:extLst>
                  <a:ext uri="{FF2B5EF4-FFF2-40B4-BE49-F238E27FC236}">
                    <a16:creationId xmlns:a16="http://schemas.microsoft.com/office/drawing/2014/main" id="{ED0C156C-75F3-4DC2-B9AA-8EC2943F532E}"/>
                  </a:ext>
                </a:extLst>
              </p:cNvPr>
              <p:cNvSpPr>
                <a:spLocks/>
              </p:cNvSpPr>
              <p:nvPr/>
            </p:nvSpPr>
            <p:spPr bwMode="auto">
              <a:xfrm>
                <a:off x="5226748" y="3361041"/>
                <a:ext cx="10835" cy="7326"/>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4" name="Freeform 272">
                <a:extLst>
                  <a:ext uri="{FF2B5EF4-FFF2-40B4-BE49-F238E27FC236}">
                    <a16:creationId xmlns:a16="http://schemas.microsoft.com/office/drawing/2014/main" id="{8B0B416F-B28D-4170-BF02-31D7A3E247A5}"/>
                  </a:ext>
                </a:extLst>
              </p:cNvPr>
              <p:cNvSpPr>
                <a:spLocks/>
              </p:cNvSpPr>
              <p:nvPr/>
            </p:nvSpPr>
            <p:spPr bwMode="auto">
              <a:xfrm>
                <a:off x="5205078" y="3363483"/>
                <a:ext cx="14446" cy="9770"/>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5" name="Freeform 6">
                <a:extLst>
                  <a:ext uri="{FF2B5EF4-FFF2-40B4-BE49-F238E27FC236}">
                    <a16:creationId xmlns:a16="http://schemas.microsoft.com/office/drawing/2014/main" id="{7B963B9C-4142-4287-9A1E-4C7202AF9315}"/>
                  </a:ext>
                </a:extLst>
              </p:cNvPr>
              <p:cNvSpPr>
                <a:spLocks/>
              </p:cNvSpPr>
              <p:nvPr/>
            </p:nvSpPr>
            <p:spPr bwMode="auto">
              <a:xfrm>
                <a:off x="6154139" y="2996142"/>
                <a:ext cx="338145" cy="230274"/>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6" name="Freeform 8">
                <a:extLst>
                  <a:ext uri="{FF2B5EF4-FFF2-40B4-BE49-F238E27FC236}">
                    <a16:creationId xmlns:a16="http://schemas.microsoft.com/office/drawing/2014/main" id="{C0C1B025-8843-4EA7-A735-6154435B002B}"/>
                  </a:ext>
                </a:extLst>
              </p:cNvPr>
              <p:cNvSpPr>
                <a:spLocks/>
              </p:cNvSpPr>
              <p:nvPr/>
            </p:nvSpPr>
            <p:spPr bwMode="auto">
              <a:xfrm>
                <a:off x="5543297" y="2913728"/>
                <a:ext cx="86051" cy="119985"/>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7" name="Freeform 9">
                <a:extLst>
                  <a:ext uri="{FF2B5EF4-FFF2-40B4-BE49-F238E27FC236}">
                    <a16:creationId xmlns:a16="http://schemas.microsoft.com/office/drawing/2014/main" id="{76B8E462-1FC0-417F-97BA-0D4FFDF520DE}"/>
                  </a:ext>
                </a:extLst>
              </p:cNvPr>
              <p:cNvSpPr>
                <a:spLocks/>
              </p:cNvSpPr>
              <p:nvPr/>
            </p:nvSpPr>
            <p:spPr bwMode="auto">
              <a:xfrm>
                <a:off x="7379458" y="3008261"/>
                <a:ext cx="603570" cy="290872"/>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8" name="Freeform 13">
                <a:extLst>
                  <a:ext uri="{FF2B5EF4-FFF2-40B4-BE49-F238E27FC236}">
                    <a16:creationId xmlns:a16="http://schemas.microsoft.com/office/drawing/2014/main" id="{D4DEB4CE-496F-4266-8793-DD9E98E42306}"/>
                  </a:ext>
                </a:extLst>
              </p:cNvPr>
              <p:cNvSpPr>
                <a:spLocks/>
              </p:cNvSpPr>
              <p:nvPr/>
            </p:nvSpPr>
            <p:spPr bwMode="auto">
              <a:xfrm>
                <a:off x="6546822" y="4565638"/>
                <a:ext cx="140591" cy="334503"/>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19" name="Freeform 41">
                <a:extLst>
                  <a:ext uri="{FF2B5EF4-FFF2-40B4-BE49-F238E27FC236}">
                    <a16:creationId xmlns:a16="http://schemas.microsoft.com/office/drawing/2014/main" id="{2DCC7752-CE7E-4CDD-B64D-B3461432013F}"/>
                  </a:ext>
                </a:extLst>
              </p:cNvPr>
              <p:cNvSpPr>
                <a:spLocks/>
              </p:cNvSpPr>
              <p:nvPr/>
            </p:nvSpPr>
            <p:spPr bwMode="auto">
              <a:xfrm>
                <a:off x="7012226" y="3444569"/>
                <a:ext cx="550243" cy="679913"/>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0" name="Freeform 45">
                <a:extLst>
                  <a:ext uri="{FF2B5EF4-FFF2-40B4-BE49-F238E27FC236}">
                    <a16:creationId xmlns:a16="http://schemas.microsoft.com/office/drawing/2014/main" id="{13AD216B-F041-4208-80F6-135BE3191547}"/>
                  </a:ext>
                </a:extLst>
              </p:cNvPr>
              <p:cNvSpPr>
                <a:spLocks/>
              </p:cNvSpPr>
              <p:nvPr/>
            </p:nvSpPr>
            <p:spPr bwMode="auto">
              <a:xfrm>
                <a:off x="6871636" y="3376699"/>
                <a:ext cx="267850" cy="239969"/>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1" name="Freeform 46">
                <a:extLst>
                  <a:ext uri="{FF2B5EF4-FFF2-40B4-BE49-F238E27FC236}">
                    <a16:creationId xmlns:a16="http://schemas.microsoft.com/office/drawing/2014/main" id="{5F0B41DB-6B85-4327-91BA-22E672BAF6C6}"/>
                  </a:ext>
                </a:extLst>
              </p:cNvPr>
              <p:cNvSpPr>
                <a:spLocks/>
              </p:cNvSpPr>
              <p:nvPr/>
            </p:nvSpPr>
            <p:spPr bwMode="auto">
              <a:xfrm>
                <a:off x="6877695" y="3414269"/>
                <a:ext cx="315117" cy="333291"/>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2" name="Freeform 47">
                <a:extLst>
                  <a:ext uri="{FF2B5EF4-FFF2-40B4-BE49-F238E27FC236}">
                    <a16:creationId xmlns:a16="http://schemas.microsoft.com/office/drawing/2014/main" id="{6F43F358-3EEB-4145-8DD6-8D65457173A1}"/>
                  </a:ext>
                </a:extLst>
              </p:cNvPr>
              <p:cNvSpPr>
                <a:spLocks/>
              </p:cNvSpPr>
              <p:nvPr/>
            </p:nvSpPr>
            <p:spPr bwMode="auto">
              <a:xfrm>
                <a:off x="6562579" y="3341552"/>
                <a:ext cx="359960" cy="370862"/>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3" name="Freeform 48">
                <a:extLst>
                  <a:ext uri="{FF2B5EF4-FFF2-40B4-BE49-F238E27FC236}">
                    <a16:creationId xmlns:a16="http://schemas.microsoft.com/office/drawing/2014/main" id="{427E9400-E831-4B20-9516-3245C48C4522}"/>
                  </a:ext>
                </a:extLst>
              </p:cNvPr>
              <p:cNvSpPr>
                <a:spLocks/>
              </p:cNvSpPr>
              <p:nvPr/>
            </p:nvSpPr>
            <p:spPr bwMode="auto">
              <a:xfrm>
                <a:off x="6229281" y="3278529"/>
                <a:ext cx="347840" cy="168464"/>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4" name="Freeform 49">
                <a:extLst>
                  <a:ext uri="{FF2B5EF4-FFF2-40B4-BE49-F238E27FC236}">
                    <a16:creationId xmlns:a16="http://schemas.microsoft.com/office/drawing/2014/main" id="{30171F17-4799-4AF0-BA19-27FCE14D3C02}"/>
                  </a:ext>
                </a:extLst>
              </p:cNvPr>
              <p:cNvSpPr>
                <a:spLocks/>
              </p:cNvSpPr>
              <p:nvPr/>
            </p:nvSpPr>
            <p:spPr bwMode="auto">
              <a:xfrm>
                <a:off x="6717713" y="3263986"/>
                <a:ext cx="271485" cy="202398"/>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5" name="Freeform 50">
                <a:extLst>
                  <a:ext uri="{FF2B5EF4-FFF2-40B4-BE49-F238E27FC236}">
                    <a16:creationId xmlns:a16="http://schemas.microsoft.com/office/drawing/2014/main" id="{05F23968-7272-47BF-858D-3DD8960E8F29}"/>
                  </a:ext>
                </a:extLst>
              </p:cNvPr>
              <p:cNvSpPr>
                <a:spLocks/>
              </p:cNvSpPr>
              <p:nvPr/>
            </p:nvSpPr>
            <p:spPr bwMode="auto">
              <a:xfrm>
                <a:off x="6784372" y="3191268"/>
                <a:ext cx="328449" cy="223001"/>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6" name="Freeform 51">
                <a:extLst>
                  <a:ext uri="{FF2B5EF4-FFF2-40B4-BE49-F238E27FC236}">
                    <a16:creationId xmlns:a16="http://schemas.microsoft.com/office/drawing/2014/main" id="{C3D14147-6775-4D4A-B5BE-4358C358B5AB}"/>
                  </a:ext>
                </a:extLst>
              </p:cNvPr>
              <p:cNvSpPr>
                <a:spLocks/>
              </p:cNvSpPr>
              <p:nvPr/>
            </p:nvSpPr>
            <p:spPr bwMode="auto">
              <a:xfrm>
                <a:off x="7035254" y="3254291"/>
                <a:ext cx="202402" cy="107865"/>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7" name="Freeform 52">
                <a:extLst>
                  <a:ext uri="{FF2B5EF4-FFF2-40B4-BE49-F238E27FC236}">
                    <a16:creationId xmlns:a16="http://schemas.microsoft.com/office/drawing/2014/main" id="{EAB0918E-794D-4830-8E18-EABBE0ACB4DC}"/>
                  </a:ext>
                </a:extLst>
              </p:cNvPr>
              <p:cNvSpPr>
                <a:spLocks/>
              </p:cNvSpPr>
              <p:nvPr/>
            </p:nvSpPr>
            <p:spPr bwMode="auto">
              <a:xfrm>
                <a:off x="6995258" y="3311253"/>
                <a:ext cx="150287" cy="117561"/>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8" name="Freeform 77">
                <a:extLst>
                  <a:ext uri="{FF2B5EF4-FFF2-40B4-BE49-F238E27FC236}">
                    <a16:creationId xmlns:a16="http://schemas.microsoft.com/office/drawing/2014/main" id="{A303DE56-2C28-4187-AA5D-2CFF51A9F620}"/>
                  </a:ext>
                </a:extLst>
              </p:cNvPr>
              <p:cNvSpPr>
                <a:spLocks/>
              </p:cNvSpPr>
              <p:nvPr/>
            </p:nvSpPr>
            <p:spPr bwMode="auto">
              <a:xfrm>
                <a:off x="6389264" y="3536678"/>
                <a:ext cx="390260" cy="399949"/>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29" name="Freeform 78">
                <a:extLst>
                  <a:ext uri="{FF2B5EF4-FFF2-40B4-BE49-F238E27FC236}">
                    <a16:creationId xmlns:a16="http://schemas.microsoft.com/office/drawing/2014/main" id="{51C6C987-E94B-475E-A143-1CD8860676B6}"/>
                  </a:ext>
                </a:extLst>
              </p:cNvPr>
              <p:cNvSpPr>
                <a:spLocks/>
              </p:cNvSpPr>
              <p:nvPr/>
            </p:nvSpPr>
            <p:spPr bwMode="auto">
              <a:xfrm>
                <a:off x="6464408" y="3406998"/>
                <a:ext cx="183010" cy="209670"/>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0" name="Freeform 79">
                <a:extLst>
                  <a:ext uri="{FF2B5EF4-FFF2-40B4-BE49-F238E27FC236}">
                    <a16:creationId xmlns:a16="http://schemas.microsoft.com/office/drawing/2014/main" id="{5DD021A1-4783-4E60-9091-35B88774E20A}"/>
                  </a:ext>
                </a:extLst>
              </p:cNvPr>
              <p:cNvSpPr>
                <a:spLocks/>
              </p:cNvSpPr>
              <p:nvPr/>
            </p:nvSpPr>
            <p:spPr bwMode="auto">
              <a:xfrm>
                <a:off x="6612270" y="3591217"/>
                <a:ext cx="32724" cy="39995"/>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1" name="Freeform 80">
                <a:extLst>
                  <a:ext uri="{FF2B5EF4-FFF2-40B4-BE49-F238E27FC236}">
                    <a16:creationId xmlns:a16="http://schemas.microsoft.com/office/drawing/2014/main" id="{1D6CAA30-D38E-4D51-B0FF-04DC8CDDF6D2}"/>
                  </a:ext>
                </a:extLst>
              </p:cNvPr>
              <p:cNvSpPr>
                <a:spLocks/>
              </p:cNvSpPr>
              <p:nvPr/>
            </p:nvSpPr>
            <p:spPr bwMode="auto">
              <a:xfrm>
                <a:off x="6709230" y="3709989"/>
                <a:ext cx="150287" cy="202398"/>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2" name="Freeform 81">
                <a:extLst>
                  <a:ext uri="{FF2B5EF4-FFF2-40B4-BE49-F238E27FC236}">
                    <a16:creationId xmlns:a16="http://schemas.microsoft.com/office/drawing/2014/main" id="{E45A43E6-9181-4E38-9898-C3C549B6C9AE}"/>
                  </a:ext>
                </a:extLst>
              </p:cNvPr>
              <p:cNvSpPr>
                <a:spLocks/>
              </p:cNvSpPr>
              <p:nvPr/>
            </p:nvSpPr>
            <p:spPr bwMode="auto">
              <a:xfrm>
                <a:off x="6532279" y="3856637"/>
                <a:ext cx="202402" cy="152707"/>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3" name="Freeform 82">
                <a:extLst>
                  <a:ext uri="{FF2B5EF4-FFF2-40B4-BE49-F238E27FC236}">
                    <a16:creationId xmlns:a16="http://schemas.microsoft.com/office/drawing/2014/main" id="{C8387502-534A-4927-B1D9-2662A0EBCE7F}"/>
                  </a:ext>
                </a:extLst>
              </p:cNvPr>
              <p:cNvSpPr>
                <a:spLocks/>
              </p:cNvSpPr>
              <p:nvPr/>
            </p:nvSpPr>
            <p:spPr bwMode="auto">
              <a:xfrm>
                <a:off x="5909317" y="3514863"/>
                <a:ext cx="305420" cy="329654"/>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4" name="Freeform 84">
                <a:extLst>
                  <a:ext uri="{FF2B5EF4-FFF2-40B4-BE49-F238E27FC236}">
                    <a16:creationId xmlns:a16="http://schemas.microsoft.com/office/drawing/2014/main" id="{0E21CB78-7AC7-415E-BB37-2DDB016CB68B}"/>
                  </a:ext>
                </a:extLst>
              </p:cNvPr>
              <p:cNvSpPr>
                <a:spLocks/>
              </p:cNvSpPr>
              <p:nvPr/>
            </p:nvSpPr>
            <p:spPr bwMode="auto">
              <a:xfrm>
                <a:off x="6344421" y="3451841"/>
                <a:ext cx="44844" cy="27875"/>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5" name="Freeform 85">
                <a:extLst>
                  <a:ext uri="{FF2B5EF4-FFF2-40B4-BE49-F238E27FC236}">
                    <a16:creationId xmlns:a16="http://schemas.microsoft.com/office/drawing/2014/main" id="{8572B222-933F-4FC7-BBA6-D0CA20B539BD}"/>
                  </a:ext>
                </a:extLst>
              </p:cNvPr>
              <p:cNvSpPr>
                <a:spLocks/>
              </p:cNvSpPr>
              <p:nvPr/>
            </p:nvSpPr>
            <p:spPr bwMode="auto">
              <a:xfrm>
                <a:off x="6008700" y="3439722"/>
                <a:ext cx="6060" cy="7271"/>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6" name="Freeform 86">
                <a:extLst>
                  <a:ext uri="{FF2B5EF4-FFF2-40B4-BE49-F238E27FC236}">
                    <a16:creationId xmlns:a16="http://schemas.microsoft.com/office/drawing/2014/main" id="{1B8EFB63-C0F6-47D0-9C7A-1F06144883C2}"/>
                  </a:ext>
                </a:extLst>
              </p:cNvPr>
              <p:cNvSpPr>
                <a:spLocks/>
              </p:cNvSpPr>
              <p:nvPr/>
            </p:nvSpPr>
            <p:spPr bwMode="auto">
              <a:xfrm>
                <a:off x="5583292" y="3409421"/>
                <a:ext cx="385413" cy="452063"/>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7" name="Freeform 87">
                <a:extLst>
                  <a:ext uri="{FF2B5EF4-FFF2-40B4-BE49-F238E27FC236}">
                    <a16:creationId xmlns:a16="http://schemas.microsoft.com/office/drawing/2014/main" id="{B4BB8582-A045-4737-BCB0-EE01CD9DD5FA}"/>
                  </a:ext>
                </a:extLst>
              </p:cNvPr>
              <p:cNvSpPr>
                <a:spLocks/>
              </p:cNvSpPr>
              <p:nvPr/>
            </p:nvSpPr>
            <p:spPr bwMode="auto">
              <a:xfrm>
                <a:off x="5881442" y="3406998"/>
                <a:ext cx="82415" cy="179371"/>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8" name="Freeform 88">
                <a:extLst>
                  <a:ext uri="{FF2B5EF4-FFF2-40B4-BE49-F238E27FC236}">
                    <a16:creationId xmlns:a16="http://schemas.microsoft.com/office/drawing/2014/main" id="{4E2D0254-2A35-4BF3-B80E-93C2F40173E0}"/>
                  </a:ext>
                </a:extLst>
              </p:cNvPr>
              <p:cNvSpPr>
                <a:spLocks/>
              </p:cNvSpPr>
              <p:nvPr/>
            </p:nvSpPr>
            <p:spPr bwMode="auto">
              <a:xfrm>
                <a:off x="6201406" y="3548798"/>
                <a:ext cx="213310" cy="250877"/>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39" name="Freeform 89">
                <a:extLst>
                  <a:ext uri="{FF2B5EF4-FFF2-40B4-BE49-F238E27FC236}">
                    <a16:creationId xmlns:a16="http://schemas.microsoft.com/office/drawing/2014/main" id="{D4CAC41A-2E3C-4519-9402-40D9AF015BD4}"/>
                  </a:ext>
                </a:extLst>
              </p:cNvPr>
              <p:cNvSpPr>
                <a:spLocks/>
              </p:cNvSpPr>
              <p:nvPr/>
            </p:nvSpPr>
            <p:spPr bwMode="auto">
              <a:xfrm>
                <a:off x="6407444" y="3406998"/>
                <a:ext cx="124835" cy="127256"/>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0" name="Freeform 90">
                <a:extLst>
                  <a:ext uri="{FF2B5EF4-FFF2-40B4-BE49-F238E27FC236}">
                    <a16:creationId xmlns:a16="http://schemas.microsoft.com/office/drawing/2014/main" id="{7D85EF64-A8B9-4730-8CEF-7909995A2200}"/>
                  </a:ext>
                </a:extLst>
              </p:cNvPr>
              <p:cNvSpPr>
                <a:spLocks/>
              </p:cNvSpPr>
              <p:nvPr/>
            </p:nvSpPr>
            <p:spPr bwMode="auto">
              <a:xfrm>
                <a:off x="6396536" y="3474868"/>
                <a:ext cx="27876" cy="39995"/>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1" name="Freeform 91">
                <a:extLst>
                  <a:ext uri="{FF2B5EF4-FFF2-40B4-BE49-F238E27FC236}">
                    <a16:creationId xmlns:a16="http://schemas.microsoft.com/office/drawing/2014/main" id="{A1BFF96A-3F5B-401D-9603-4C42C095D4B0}"/>
                  </a:ext>
                </a:extLst>
              </p:cNvPr>
              <p:cNvSpPr>
                <a:spLocks/>
              </p:cNvSpPr>
              <p:nvPr/>
            </p:nvSpPr>
            <p:spPr bwMode="auto">
              <a:xfrm>
                <a:off x="6394112" y="3508803"/>
                <a:ext cx="82415" cy="103017"/>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2" name="Freeform 92">
                <a:extLst>
                  <a:ext uri="{FF2B5EF4-FFF2-40B4-BE49-F238E27FC236}">
                    <a16:creationId xmlns:a16="http://schemas.microsoft.com/office/drawing/2014/main" id="{A567F7DF-18FE-464E-A391-37C27006ABF2}"/>
                  </a:ext>
                </a:extLst>
              </p:cNvPr>
              <p:cNvSpPr>
                <a:spLocks/>
              </p:cNvSpPr>
              <p:nvPr/>
            </p:nvSpPr>
            <p:spPr bwMode="auto">
              <a:xfrm>
                <a:off x="6509251" y="4016617"/>
                <a:ext cx="199978" cy="318746"/>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3" name="Freeform 93">
                <a:extLst>
                  <a:ext uri="{FF2B5EF4-FFF2-40B4-BE49-F238E27FC236}">
                    <a16:creationId xmlns:a16="http://schemas.microsoft.com/office/drawing/2014/main" id="{B1B67E2D-EF5E-414F-94E0-13759089BE53}"/>
                  </a:ext>
                </a:extLst>
              </p:cNvPr>
              <p:cNvSpPr>
                <a:spLocks/>
              </p:cNvSpPr>
              <p:nvPr/>
            </p:nvSpPr>
            <p:spPr bwMode="auto">
              <a:xfrm>
                <a:off x="6351693" y="3947534"/>
                <a:ext cx="288453" cy="275116"/>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4" name="Freeform 94">
                <a:extLst>
                  <a:ext uri="{FF2B5EF4-FFF2-40B4-BE49-F238E27FC236}">
                    <a16:creationId xmlns:a16="http://schemas.microsoft.com/office/drawing/2014/main" id="{6D48D068-34C9-4FB5-B47D-0C295AE93280}"/>
                  </a:ext>
                </a:extLst>
              </p:cNvPr>
              <p:cNvSpPr>
                <a:spLocks/>
              </p:cNvSpPr>
              <p:nvPr/>
            </p:nvSpPr>
            <p:spPr bwMode="auto">
              <a:xfrm>
                <a:off x="6417140" y="3879664"/>
                <a:ext cx="129682" cy="136952"/>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5" name="Freeform 95">
                <a:extLst>
                  <a:ext uri="{FF2B5EF4-FFF2-40B4-BE49-F238E27FC236}">
                    <a16:creationId xmlns:a16="http://schemas.microsoft.com/office/drawing/2014/main" id="{201E8FF1-999D-469C-973A-1E53A563A37A}"/>
                  </a:ext>
                </a:extLst>
              </p:cNvPr>
              <p:cNvSpPr>
                <a:spLocks/>
              </p:cNvSpPr>
              <p:nvPr/>
            </p:nvSpPr>
            <p:spPr bwMode="auto">
              <a:xfrm>
                <a:off x="6522583" y="4002073"/>
                <a:ext cx="33936" cy="49691"/>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6" name="Freeform 96">
                <a:extLst>
                  <a:ext uri="{FF2B5EF4-FFF2-40B4-BE49-F238E27FC236}">
                    <a16:creationId xmlns:a16="http://schemas.microsoft.com/office/drawing/2014/main" id="{AB015D25-0FA7-498A-8DE0-436703A1F45F}"/>
                  </a:ext>
                </a:extLst>
              </p:cNvPr>
              <p:cNvSpPr>
                <a:spLocks/>
              </p:cNvSpPr>
              <p:nvPr/>
            </p:nvSpPr>
            <p:spPr bwMode="auto">
              <a:xfrm>
                <a:off x="5971129" y="4166900"/>
                <a:ext cx="363597" cy="453275"/>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7" name="Freeform 97">
                <a:extLst>
                  <a:ext uri="{FF2B5EF4-FFF2-40B4-BE49-F238E27FC236}">
                    <a16:creationId xmlns:a16="http://schemas.microsoft.com/office/drawing/2014/main" id="{C45772C9-2971-4CFE-9615-E078EC1E7BB7}"/>
                  </a:ext>
                </a:extLst>
              </p:cNvPr>
              <p:cNvSpPr>
                <a:spLocks/>
              </p:cNvSpPr>
              <p:nvPr/>
            </p:nvSpPr>
            <p:spPr bwMode="auto">
              <a:xfrm>
                <a:off x="6372296" y="4180232"/>
                <a:ext cx="152711" cy="224214"/>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8" name="Freeform 98">
                <a:extLst>
                  <a:ext uri="{FF2B5EF4-FFF2-40B4-BE49-F238E27FC236}">
                    <a16:creationId xmlns:a16="http://schemas.microsoft.com/office/drawing/2014/main" id="{E4405B16-6D9B-4A1A-8639-10D4344E527C}"/>
                  </a:ext>
                </a:extLst>
              </p:cNvPr>
              <p:cNvSpPr>
                <a:spLocks/>
              </p:cNvSpPr>
              <p:nvPr/>
            </p:nvSpPr>
            <p:spPr bwMode="auto">
              <a:xfrm>
                <a:off x="6297154" y="4199624"/>
                <a:ext cx="99383" cy="132104"/>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49" name="Freeform 99">
                <a:extLst>
                  <a:ext uri="{FF2B5EF4-FFF2-40B4-BE49-F238E27FC236}">
                    <a16:creationId xmlns:a16="http://schemas.microsoft.com/office/drawing/2014/main" id="{BED6A5E0-D478-455B-990D-ABCDE0C73970}"/>
                  </a:ext>
                </a:extLst>
              </p:cNvPr>
              <p:cNvSpPr>
                <a:spLocks/>
              </p:cNvSpPr>
              <p:nvPr/>
            </p:nvSpPr>
            <p:spPr bwMode="auto">
              <a:xfrm>
                <a:off x="5956584" y="4429898"/>
                <a:ext cx="239974" cy="289659"/>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0" name="Freeform 100">
                <a:extLst>
                  <a:ext uri="{FF2B5EF4-FFF2-40B4-BE49-F238E27FC236}">
                    <a16:creationId xmlns:a16="http://schemas.microsoft.com/office/drawing/2014/main" id="{67550EB6-5AE9-46B9-8B8D-7B69B6861864}"/>
                  </a:ext>
                </a:extLst>
              </p:cNvPr>
              <p:cNvSpPr>
                <a:spLocks/>
              </p:cNvSpPr>
              <p:nvPr/>
            </p:nvSpPr>
            <p:spPr bwMode="auto">
              <a:xfrm>
                <a:off x="6154139" y="4484435"/>
                <a:ext cx="218158" cy="236334"/>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1" name="Freeform 101">
                <a:extLst>
                  <a:ext uri="{FF2B5EF4-FFF2-40B4-BE49-F238E27FC236}">
                    <a16:creationId xmlns:a16="http://schemas.microsoft.com/office/drawing/2014/main" id="{DDC73E04-E121-41CD-AB6D-62469C698278}"/>
                  </a:ext>
                </a:extLst>
              </p:cNvPr>
              <p:cNvSpPr>
                <a:spLocks/>
              </p:cNvSpPr>
              <p:nvPr/>
            </p:nvSpPr>
            <p:spPr bwMode="auto">
              <a:xfrm>
                <a:off x="6304425" y="4540186"/>
                <a:ext cx="204826" cy="382981"/>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2" name="Freeform 102">
                <a:extLst>
                  <a:ext uri="{FF2B5EF4-FFF2-40B4-BE49-F238E27FC236}">
                    <a16:creationId xmlns:a16="http://schemas.microsoft.com/office/drawing/2014/main" id="{48A3F0B4-B34E-437E-843F-E6956F7ECAB2}"/>
                  </a:ext>
                </a:extLst>
              </p:cNvPr>
              <p:cNvSpPr>
                <a:spLocks/>
              </p:cNvSpPr>
              <p:nvPr/>
            </p:nvSpPr>
            <p:spPr bwMode="auto">
              <a:xfrm>
                <a:off x="5956584" y="4683198"/>
                <a:ext cx="258154" cy="294508"/>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3" name="Freeform 103">
                <a:extLst>
                  <a:ext uri="{FF2B5EF4-FFF2-40B4-BE49-F238E27FC236}">
                    <a16:creationId xmlns:a16="http://schemas.microsoft.com/office/drawing/2014/main" id="{F61DB3F6-4823-4AE5-9750-EBC872E53B10}"/>
                  </a:ext>
                </a:extLst>
              </p:cNvPr>
              <p:cNvSpPr>
                <a:spLocks/>
              </p:cNvSpPr>
              <p:nvPr/>
            </p:nvSpPr>
            <p:spPr bwMode="auto">
              <a:xfrm>
                <a:off x="6118991" y="4707437"/>
                <a:ext cx="170890" cy="223001"/>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4" name="Freeform 104">
                <a:extLst>
                  <a:ext uri="{FF2B5EF4-FFF2-40B4-BE49-F238E27FC236}">
                    <a16:creationId xmlns:a16="http://schemas.microsoft.com/office/drawing/2014/main" id="{85630315-37F0-4E8D-B310-4D5C24309528}"/>
                  </a:ext>
                </a:extLst>
              </p:cNvPr>
              <p:cNvSpPr>
                <a:spLocks/>
              </p:cNvSpPr>
              <p:nvPr/>
            </p:nvSpPr>
            <p:spPr bwMode="auto">
              <a:xfrm>
                <a:off x="6214738" y="4655323"/>
                <a:ext cx="150287" cy="162404"/>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5" name="Freeform 105">
                <a:extLst>
                  <a:ext uri="{FF2B5EF4-FFF2-40B4-BE49-F238E27FC236}">
                    <a16:creationId xmlns:a16="http://schemas.microsoft.com/office/drawing/2014/main" id="{81C5A299-D197-4140-9438-15190333A8E9}"/>
                  </a:ext>
                </a:extLst>
              </p:cNvPr>
              <p:cNvSpPr>
                <a:spLocks/>
              </p:cNvSpPr>
              <p:nvPr/>
            </p:nvSpPr>
            <p:spPr bwMode="auto">
              <a:xfrm>
                <a:off x="6051120" y="4810455"/>
                <a:ext cx="307845" cy="312687"/>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6" name="Freeform 106">
                <a:extLst>
                  <a:ext uri="{FF2B5EF4-FFF2-40B4-BE49-F238E27FC236}">
                    <a16:creationId xmlns:a16="http://schemas.microsoft.com/office/drawing/2014/main" id="{B762F2D1-73C4-4A10-8A52-AD26C4B87009}"/>
                  </a:ext>
                </a:extLst>
              </p:cNvPr>
              <p:cNvSpPr>
                <a:spLocks/>
              </p:cNvSpPr>
              <p:nvPr/>
            </p:nvSpPr>
            <p:spPr bwMode="auto">
              <a:xfrm>
                <a:off x="6243826" y="4958315"/>
                <a:ext cx="53328" cy="64234"/>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7" name="Freeform 107">
                <a:extLst>
                  <a:ext uri="{FF2B5EF4-FFF2-40B4-BE49-F238E27FC236}">
                    <a16:creationId xmlns:a16="http://schemas.microsoft.com/office/drawing/2014/main" id="{A62C7EAF-2A67-4665-A808-B722C3584463}"/>
                  </a:ext>
                </a:extLst>
              </p:cNvPr>
              <p:cNvSpPr>
                <a:spLocks/>
              </p:cNvSpPr>
              <p:nvPr/>
            </p:nvSpPr>
            <p:spPr bwMode="auto">
              <a:xfrm>
                <a:off x="6316545" y="4892868"/>
                <a:ext cx="27876" cy="44843"/>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8" name="Freeform 108">
                <a:extLst>
                  <a:ext uri="{FF2B5EF4-FFF2-40B4-BE49-F238E27FC236}">
                    <a16:creationId xmlns:a16="http://schemas.microsoft.com/office/drawing/2014/main" id="{C86F3B44-623E-4AAD-BC0B-CF3EAACABD7C}"/>
                  </a:ext>
                </a:extLst>
              </p:cNvPr>
              <p:cNvSpPr>
                <a:spLocks/>
              </p:cNvSpPr>
              <p:nvPr/>
            </p:nvSpPr>
            <p:spPr bwMode="auto">
              <a:xfrm>
                <a:off x="6351693" y="4514735"/>
                <a:ext cx="65447" cy="183007"/>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59" name="Freeform 109">
                <a:extLst>
                  <a:ext uri="{FF2B5EF4-FFF2-40B4-BE49-F238E27FC236}">
                    <a16:creationId xmlns:a16="http://schemas.microsoft.com/office/drawing/2014/main" id="{6BDCA352-A99B-43CC-8AB0-F1E5368A776C}"/>
                  </a:ext>
                </a:extLst>
              </p:cNvPr>
              <p:cNvSpPr>
                <a:spLocks/>
              </p:cNvSpPr>
              <p:nvPr/>
            </p:nvSpPr>
            <p:spPr bwMode="auto">
              <a:xfrm>
                <a:off x="5989308" y="3749984"/>
                <a:ext cx="207250" cy="376922"/>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0" name="Freeform 110">
                <a:extLst>
                  <a:ext uri="{FF2B5EF4-FFF2-40B4-BE49-F238E27FC236}">
                    <a16:creationId xmlns:a16="http://schemas.microsoft.com/office/drawing/2014/main" id="{7565077C-418D-4C27-BCD5-2BEBE1325AE3}"/>
                  </a:ext>
                </a:extLst>
              </p:cNvPr>
              <p:cNvSpPr>
                <a:spLocks/>
              </p:cNvSpPr>
              <p:nvPr/>
            </p:nvSpPr>
            <p:spPr bwMode="auto">
              <a:xfrm>
                <a:off x="5744486" y="3749984"/>
                <a:ext cx="304209" cy="277540"/>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1" name="Freeform 111">
                <a:extLst>
                  <a:ext uri="{FF2B5EF4-FFF2-40B4-BE49-F238E27FC236}">
                    <a16:creationId xmlns:a16="http://schemas.microsoft.com/office/drawing/2014/main" id="{89EB0176-D5EC-45A0-BF29-76CE49FACB89}"/>
                  </a:ext>
                </a:extLst>
              </p:cNvPr>
              <p:cNvSpPr>
                <a:spLocks/>
              </p:cNvSpPr>
              <p:nvPr/>
            </p:nvSpPr>
            <p:spPr bwMode="auto">
              <a:xfrm>
                <a:off x="5511785" y="3712414"/>
                <a:ext cx="312692" cy="359954"/>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2" name="Freeform 112">
                <a:extLst>
                  <a:ext uri="{FF2B5EF4-FFF2-40B4-BE49-F238E27FC236}">
                    <a16:creationId xmlns:a16="http://schemas.microsoft.com/office/drawing/2014/main" id="{3F2EC70B-8A05-4BC7-8D69-555E6442983D}"/>
                  </a:ext>
                </a:extLst>
              </p:cNvPr>
              <p:cNvSpPr>
                <a:spLocks/>
              </p:cNvSpPr>
              <p:nvPr/>
            </p:nvSpPr>
            <p:spPr bwMode="auto">
              <a:xfrm>
                <a:off x="5423310" y="3659087"/>
                <a:ext cx="232702" cy="300567"/>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3" name="Freeform 113">
                <a:extLst>
                  <a:ext uri="{FF2B5EF4-FFF2-40B4-BE49-F238E27FC236}">
                    <a16:creationId xmlns:a16="http://schemas.microsoft.com/office/drawing/2014/main" id="{D740F144-E271-4A1C-A8A4-AB2217067A05}"/>
                  </a:ext>
                </a:extLst>
              </p:cNvPr>
              <p:cNvSpPr>
                <a:spLocks/>
              </p:cNvSpPr>
              <p:nvPr/>
            </p:nvSpPr>
            <p:spPr bwMode="auto">
              <a:xfrm>
                <a:off x="5796602" y="3974198"/>
                <a:ext cx="225430" cy="225425"/>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4" name="Freeform 114">
                <a:extLst>
                  <a:ext uri="{FF2B5EF4-FFF2-40B4-BE49-F238E27FC236}">
                    <a16:creationId xmlns:a16="http://schemas.microsoft.com/office/drawing/2014/main" id="{1901958B-0ECD-4C37-82AE-979B04EB996A}"/>
                  </a:ext>
                </a:extLst>
              </p:cNvPr>
              <p:cNvSpPr>
                <a:spLocks/>
              </p:cNvSpPr>
              <p:nvPr/>
            </p:nvSpPr>
            <p:spPr bwMode="auto">
              <a:xfrm>
                <a:off x="6011124" y="4044492"/>
                <a:ext cx="246034" cy="202398"/>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5" name="Freeform 115">
                <a:extLst>
                  <a:ext uri="{FF2B5EF4-FFF2-40B4-BE49-F238E27FC236}">
                    <a16:creationId xmlns:a16="http://schemas.microsoft.com/office/drawing/2014/main" id="{21BAB9CE-A847-42ED-8A3A-2017EEB9E1F9}"/>
                  </a:ext>
                </a:extLst>
              </p:cNvPr>
              <p:cNvSpPr>
                <a:spLocks/>
              </p:cNvSpPr>
              <p:nvPr/>
            </p:nvSpPr>
            <p:spPr bwMode="auto">
              <a:xfrm>
                <a:off x="5902045" y="3994802"/>
                <a:ext cx="146651" cy="265421"/>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6" name="Freeform 116">
                <a:extLst>
                  <a:ext uri="{FF2B5EF4-FFF2-40B4-BE49-F238E27FC236}">
                    <a16:creationId xmlns:a16="http://schemas.microsoft.com/office/drawing/2014/main" id="{CD1CBC94-4606-47F9-8ED3-5AD3009FBE70}"/>
                  </a:ext>
                </a:extLst>
              </p:cNvPr>
              <p:cNvSpPr>
                <a:spLocks/>
              </p:cNvSpPr>
              <p:nvPr/>
            </p:nvSpPr>
            <p:spPr bwMode="auto">
              <a:xfrm>
                <a:off x="5968704" y="4397174"/>
                <a:ext cx="20604" cy="32724"/>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7" name="Freeform 117">
                <a:extLst>
                  <a:ext uri="{FF2B5EF4-FFF2-40B4-BE49-F238E27FC236}">
                    <a16:creationId xmlns:a16="http://schemas.microsoft.com/office/drawing/2014/main" id="{08343C1E-B0C8-47D5-AF47-26EEE814EA1A}"/>
                  </a:ext>
                </a:extLst>
              </p:cNvPr>
              <p:cNvSpPr>
                <a:spLocks/>
              </p:cNvSpPr>
              <p:nvPr/>
            </p:nvSpPr>
            <p:spPr bwMode="auto">
              <a:xfrm>
                <a:off x="5949312" y="4211743"/>
                <a:ext cx="143014" cy="203610"/>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8" name="Freeform 118">
                <a:extLst>
                  <a:ext uri="{FF2B5EF4-FFF2-40B4-BE49-F238E27FC236}">
                    <a16:creationId xmlns:a16="http://schemas.microsoft.com/office/drawing/2014/main" id="{89559F17-726D-4E8C-BE61-C0EFD3A3B734}"/>
                  </a:ext>
                </a:extLst>
              </p:cNvPr>
              <p:cNvSpPr>
                <a:spLocks/>
              </p:cNvSpPr>
              <p:nvPr/>
            </p:nvSpPr>
            <p:spPr bwMode="auto">
              <a:xfrm>
                <a:off x="5902045" y="4244467"/>
                <a:ext cx="112715" cy="143012"/>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69" name="Freeform 119">
                <a:extLst>
                  <a:ext uri="{FF2B5EF4-FFF2-40B4-BE49-F238E27FC236}">
                    <a16:creationId xmlns:a16="http://schemas.microsoft.com/office/drawing/2014/main" id="{BBE85C48-D202-470B-88EC-CF796DE7EC5B}"/>
                  </a:ext>
                </a:extLst>
              </p:cNvPr>
              <p:cNvSpPr>
                <a:spLocks/>
              </p:cNvSpPr>
              <p:nvPr/>
            </p:nvSpPr>
            <p:spPr bwMode="auto">
              <a:xfrm>
                <a:off x="5916589" y="4244467"/>
                <a:ext cx="37571" cy="32724"/>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0" name="Freeform 120">
                <a:extLst>
                  <a:ext uri="{FF2B5EF4-FFF2-40B4-BE49-F238E27FC236}">
                    <a16:creationId xmlns:a16="http://schemas.microsoft.com/office/drawing/2014/main" id="{AE92C2F4-AEDF-4181-97E7-CD4943A03373}"/>
                  </a:ext>
                </a:extLst>
              </p:cNvPr>
              <p:cNvSpPr>
                <a:spLocks/>
              </p:cNvSpPr>
              <p:nvPr/>
            </p:nvSpPr>
            <p:spPr bwMode="auto">
              <a:xfrm>
                <a:off x="5895985" y="4211743"/>
                <a:ext cx="13332" cy="13331"/>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1" name="Freeform 121">
                <a:extLst>
                  <a:ext uri="{FF2B5EF4-FFF2-40B4-BE49-F238E27FC236}">
                    <a16:creationId xmlns:a16="http://schemas.microsoft.com/office/drawing/2014/main" id="{1E5CDEA8-DF21-4BD1-B8E5-2F5E2BAD6B44}"/>
                  </a:ext>
                </a:extLst>
              </p:cNvPr>
              <p:cNvSpPr>
                <a:spLocks/>
              </p:cNvSpPr>
              <p:nvPr/>
            </p:nvSpPr>
            <p:spPr bwMode="auto">
              <a:xfrm>
                <a:off x="5859626" y="4289309"/>
                <a:ext cx="12120" cy="8484"/>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2" name="Freeform 122">
                <a:extLst>
                  <a:ext uri="{FF2B5EF4-FFF2-40B4-BE49-F238E27FC236}">
                    <a16:creationId xmlns:a16="http://schemas.microsoft.com/office/drawing/2014/main" id="{C660F95C-FB5F-48E7-84C5-E471340D1B97}"/>
                  </a:ext>
                </a:extLst>
              </p:cNvPr>
              <p:cNvSpPr>
                <a:spLocks/>
              </p:cNvSpPr>
              <p:nvPr/>
            </p:nvSpPr>
            <p:spPr bwMode="auto">
              <a:xfrm>
                <a:off x="6276549" y="4319608"/>
                <a:ext cx="42419" cy="44843"/>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3" name="Freeform 123">
                <a:extLst>
                  <a:ext uri="{FF2B5EF4-FFF2-40B4-BE49-F238E27FC236}">
                    <a16:creationId xmlns:a16="http://schemas.microsoft.com/office/drawing/2014/main" id="{018628B4-AE5D-42AB-BB14-3DB7B2116888}"/>
                  </a:ext>
                </a:extLst>
              </p:cNvPr>
              <p:cNvSpPr>
                <a:spLocks/>
              </p:cNvSpPr>
              <p:nvPr/>
            </p:nvSpPr>
            <p:spPr bwMode="auto">
              <a:xfrm>
                <a:off x="6283821" y="4349907"/>
                <a:ext cx="43631" cy="52114"/>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4" name="Freeform 124">
                <a:extLst>
                  <a:ext uri="{FF2B5EF4-FFF2-40B4-BE49-F238E27FC236}">
                    <a16:creationId xmlns:a16="http://schemas.microsoft.com/office/drawing/2014/main" id="{D16179F9-BD88-4D26-89B7-171F789E6EBA}"/>
                  </a:ext>
                </a:extLst>
              </p:cNvPr>
              <p:cNvSpPr>
                <a:spLocks/>
              </p:cNvSpPr>
              <p:nvPr/>
            </p:nvSpPr>
            <p:spPr bwMode="auto">
              <a:xfrm>
                <a:off x="5639043" y="3942687"/>
                <a:ext cx="150287" cy="139376"/>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5" name="Freeform 125">
                <a:extLst>
                  <a:ext uri="{FF2B5EF4-FFF2-40B4-BE49-F238E27FC236}">
                    <a16:creationId xmlns:a16="http://schemas.microsoft.com/office/drawing/2014/main" id="{75468367-806E-4167-A6B0-1C9D8280DE8E}"/>
                  </a:ext>
                </a:extLst>
              </p:cNvPr>
              <p:cNvSpPr>
                <a:spLocks/>
              </p:cNvSpPr>
              <p:nvPr/>
            </p:nvSpPr>
            <p:spPr bwMode="auto">
              <a:xfrm>
                <a:off x="5756606" y="4006921"/>
                <a:ext cx="65447" cy="145436"/>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6" name="Freeform 126">
                <a:extLst>
                  <a:ext uri="{FF2B5EF4-FFF2-40B4-BE49-F238E27FC236}">
                    <a16:creationId xmlns:a16="http://schemas.microsoft.com/office/drawing/2014/main" id="{651267E1-798E-4531-AF4B-AEBAB911E6C8}"/>
                  </a:ext>
                </a:extLst>
              </p:cNvPr>
              <p:cNvSpPr>
                <a:spLocks/>
              </p:cNvSpPr>
              <p:nvPr/>
            </p:nvSpPr>
            <p:spPr bwMode="auto">
              <a:xfrm>
                <a:off x="5583292" y="4044492"/>
                <a:ext cx="118775" cy="152707"/>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7" name="Freeform 127">
                <a:extLst>
                  <a:ext uri="{FF2B5EF4-FFF2-40B4-BE49-F238E27FC236}">
                    <a16:creationId xmlns:a16="http://schemas.microsoft.com/office/drawing/2014/main" id="{37C60084-56FD-4D58-8F20-7095EEC24EA6}"/>
                  </a:ext>
                </a:extLst>
              </p:cNvPr>
              <p:cNvSpPr>
                <a:spLocks/>
              </p:cNvSpPr>
              <p:nvPr/>
            </p:nvSpPr>
            <p:spPr bwMode="auto">
              <a:xfrm>
                <a:off x="5681463" y="4039644"/>
                <a:ext cx="87263" cy="152707"/>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8" name="Freeform 128">
                <a:extLst>
                  <a:ext uri="{FF2B5EF4-FFF2-40B4-BE49-F238E27FC236}">
                    <a16:creationId xmlns:a16="http://schemas.microsoft.com/office/drawing/2014/main" id="{29404F1E-08F1-4B01-A691-A0BBCE17A881}"/>
                  </a:ext>
                </a:extLst>
              </p:cNvPr>
              <p:cNvSpPr>
                <a:spLocks/>
              </p:cNvSpPr>
              <p:nvPr/>
            </p:nvSpPr>
            <p:spPr bwMode="auto">
              <a:xfrm>
                <a:off x="5742063" y="4039644"/>
                <a:ext cx="36359" cy="117561"/>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79" name="Freeform 129">
                <a:extLst>
                  <a:ext uri="{FF2B5EF4-FFF2-40B4-BE49-F238E27FC236}">
                    <a16:creationId xmlns:a16="http://schemas.microsoft.com/office/drawing/2014/main" id="{09702F43-D3F3-498B-B4F0-011728764AF2}"/>
                  </a:ext>
                </a:extLst>
              </p:cNvPr>
              <p:cNvSpPr>
                <a:spLocks/>
              </p:cNvSpPr>
              <p:nvPr/>
            </p:nvSpPr>
            <p:spPr bwMode="auto">
              <a:xfrm>
                <a:off x="5498453" y="3444569"/>
                <a:ext cx="230278" cy="204822"/>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0" name="Freeform 130">
                <a:extLst>
                  <a:ext uri="{FF2B5EF4-FFF2-40B4-BE49-F238E27FC236}">
                    <a16:creationId xmlns:a16="http://schemas.microsoft.com/office/drawing/2014/main" id="{FA39E007-7C7B-404B-9AF8-CCF53BC0F244}"/>
                  </a:ext>
                </a:extLst>
              </p:cNvPr>
              <p:cNvSpPr>
                <a:spLocks/>
              </p:cNvSpPr>
              <p:nvPr/>
            </p:nvSpPr>
            <p:spPr bwMode="auto">
              <a:xfrm>
                <a:off x="5423310" y="3649391"/>
                <a:ext cx="159982" cy="167251"/>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1" name="Freeform 131">
                <a:extLst>
                  <a:ext uri="{FF2B5EF4-FFF2-40B4-BE49-F238E27FC236}">
                    <a16:creationId xmlns:a16="http://schemas.microsoft.com/office/drawing/2014/main" id="{192DD92F-2D36-4129-A437-717E3B9C715A}"/>
                  </a:ext>
                </a:extLst>
              </p:cNvPr>
              <p:cNvSpPr>
                <a:spLocks/>
              </p:cNvSpPr>
              <p:nvPr/>
            </p:nvSpPr>
            <p:spPr bwMode="auto">
              <a:xfrm>
                <a:off x="5443914" y="3637272"/>
                <a:ext cx="14544" cy="12120"/>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2" name="Freeform 132">
                <a:extLst>
                  <a:ext uri="{FF2B5EF4-FFF2-40B4-BE49-F238E27FC236}">
                    <a16:creationId xmlns:a16="http://schemas.microsoft.com/office/drawing/2014/main" id="{7FEB45AA-A0FA-4F08-AC95-1D4640010C50}"/>
                  </a:ext>
                </a:extLst>
              </p:cNvPr>
              <p:cNvSpPr>
                <a:spLocks/>
              </p:cNvSpPr>
              <p:nvPr/>
            </p:nvSpPr>
            <p:spPr bwMode="auto">
              <a:xfrm>
                <a:off x="5469365" y="3623939"/>
                <a:ext cx="19392" cy="18180"/>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3" name="Freeform 133">
                <a:extLst>
                  <a:ext uri="{FF2B5EF4-FFF2-40B4-BE49-F238E27FC236}">
                    <a16:creationId xmlns:a16="http://schemas.microsoft.com/office/drawing/2014/main" id="{F96BEE18-4468-4568-B8BA-46F8EFC100E1}"/>
                  </a:ext>
                </a:extLst>
              </p:cNvPr>
              <p:cNvSpPr>
                <a:spLocks/>
              </p:cNvSpPr>
              <p:nvPr/>
            </p:nvSpPr>
            <p:spPr bwMode="auto">
              <a:xfrm>
                <a:off x="5483909" y="3611819"/>
                <a:ext cx="7272" cy="12120"/>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4" name="Freeform 134">
                <a:extLst>
                  <a:ext uri="{FF2B5EF4-FFF2-40B4-BE49-F238E27FC236}">
                    <a16:creationId xmlns:a16="http://schemas.microsoft.com/office/drawing/2014/main" id="{11059F0F-2CBD-44E5-A673-612CF676AE4A}"/>
                  </a:ext>
                </a:extLst>
              </p:cNvPr>
              <p:cNvSpPr>
                <a:spLocks/>
              </p:cNvSpPr>
              <p:nvPr/>
            </p:nvSpPr>
            <p:spPr bwMode="auto">
              <a:xfrm>
                <a:off x="5423310" y="3626363"/>
                <a:ext cx="18180" cy="18180"/>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5" name="Freeform 135">
                <a:extLst>
                  <a:ext uri="{FF2B5EF4-FFF2-40B4-BE49-F238E27FC236}">
                    <a16:creationId xmlns:a16="http://schemas.microsoft.com/office/drawing/2014/main" id="{4F8FC56C-30B4-4171-8A89-CC25B519F7B0}"/>
                  </a:ext>
                </a:extLst>
              </p:cNvPr>
              <p:cNvSpPr>
                <a:spLocks/>
              </p:cNvSpPr>
              <p:nvPr/>
            </p:nvSpPr>
            <p:spPr bwMode="auto">
              <a:xfrm>
                <a:off x="5406342" y="3619092"/>
                <a:ext cx="7272" cy="13331"/>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6" name="Freeform 136">
                <a:extLst>
                  <a:ext uri="{FF2B5EF4-FFF2-40B4-BE49-F238E27FC236}">
                    <a16:creationId xmlns:a16="http://schemas.microsoft.com/office/drawing/2014/main" id="{6E7C996F-B8A6-4248-8984-200FDAA4EA2D}"/>
                  </a:ext>
                </a:extLst>
              </p:cNvPr>
              <p:cNvSpPr>
                <a:spLocks/>
              </p:cNvSpPr>
              <p:nvPr/>
            </p:nvSpPr>
            <p:spPr bwMode="auto">
              <a:xfrm>
                <a:off x="5416038" y="3637272"/>
                <a:ext cx="7272" cy="4848"/>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7" name="Freeform 137">
                <a:extLst>
                  <a:ext uri="{FF2B5EF4-FFF2-40B4-BE49-F238E27FC236}">
                    <a16:creationId xmlns:a16="http://schemas.microsoft.com/office/drawing/2014/main" id="{E0E1FB60-C7A8-48F0-AF2E-150695FD2A6A}"/>
                  </a:ext>
                </a:extLst>
              </p:cNvPr>
              <p:cNvSpPr>
                <a:spLocks/>
              </p:cNvSpPr>
              <p:nvPr/>
            </p:nvSpPr>
            <p:spPr bwMode="auto">
              <a:xfrm>
                <a:off x="5401494" y="3644543"/>
                <a:ext cx="7272" cy="7271"/>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8" name="Freeform 138">
                <a:extLst>
                  <a:ext uri="{FF2B5EF4-FFF2-40B4-BE49-F238E27FC236}">
                    <a16:creationId xmlns:a16="http://schemas.microsoft.com/office/drawing/2014/main" id="{6C657052-0467-49C7-8A67-D0F1CBD746D3}"/>
                  </a:ext>
                </a:extLst>
              </p:cNvPr>
              <p:cNvSpPr>
                <a:spLocks/>
              </p:cNvSpPr>
              <p:nvPr/>
            </p:nvSpPr>
            <p:spPr bwMode="auto">
              <a:xfrm>
                <a:off x="5531177" y="4100242"/>
                <a:ext cx="75144" cy="99381"/>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89" name="Freeform 139">
                <a:extLst>
                  <a:ext uri="{FF2B5EF4-FFF2-40B4-BE49-F238E27FC236}">
                    <a16:creationId xmlns:a16="http://schemas.microsoft.com/office/drawing/2014/main" id="{15412CF6-D171-4A01-BBBA-48ED3E136E0C}"/>
                  </a:ext>
                </a:extLst>
              </p:cNvPr>
              <p:cNvSpPr>
                <a:spLocks/>
              </p:cNvSpPr>
              <p:nvPr/>
            </p:nvSpPr>
            <p:spPr bwMode="auto">
              <a:xfrm>
                <a:off x="5496029" y="4065095"/>
                <a:ext cx="55751" cy="72718"/>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0" name="Freeform 140">
                <a:extLst>
                  <a:ext uri="{FF2B5EF4-FFF2-40B4-BE49-F238E27FC236}">
                    <a16:creationId xmlns:a16="http://schemas.microsoft.com/office/drawing/2014/main" id="{BF86B649-35BC-4505-84B4-DE9150116F24}"/>
                  </a:ext>
                </a:extLst>
              </p:cNvPr>
              <p:cNvSpPr>
                <a:spLocks/>
              </p:cNvSpPr>
              <p:nvPr/>
            </p:nvSpPr>
            <p:spPr bwMode="auto">
              <a:xfrm>
                <a:off x="5416038" y="3912387"/>
                <a:ext cx="119987" cy="101805"/>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1" name="Freeform 141">
                <a:extLst>
                  <a:ext uri="{FF2B5EF4-FFF2-40B4-BE49-F238E27FC236}">
                    <a16:creationId xmlns:a16="http://schemas.microsoft.com/office/drawing/2014/main" id="{A6E7903D-79D8-4A41-831C-3AACA2D2F8C0}"/>
                  </a:ext>
                </a:extLst>
              </p:cNvPr>
              <p:cNvSpPr>
                <a:spLocks/>
              </p:cNvSpPr>
              <p:nvPr/>
            </p:nvSpPr>
            <p:spPr bwMode="auto">
              <a:xfrm>
                <a:off x="5428157" y="3979046"/>
                <a:ext cx="60599" cy="20604"/>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2" name="Freeform 142">
                <a:extLst>
                  <a:ext uri="{FF2B5EF4-FFF2-40B4-BE49-F238E27FC236}">
                    <a16:creationId xmlns:a16="http://schemas.microsoft.com/office/drawing/2014/main" id="{380B9C7F-597D-443C-AB9E-6490D8D8BBE7}"/>
                  </a:ext>
                </a:extLst>
              </p:cNvPr>
              <p:cNvSpPr>
                <a:spLocks/>
              </p:cNvSpPr>
              <p:nvPr/>
            </p:nvSpPr>
            <p:spPr bwMode="auto">
              <a:xfrm>
                <a:off x="5463305" y="4006921"/>
                <a:ext cx="140591" cy="130892"/>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3" name="Freeform 143">
                <a:extLst>
                  <a:ext uri="{FF2B5EF4-FFF2-40B4-BE49-F238E27FC236}">
                    <a16:creationId xmlns:a16="http://schemas.microsoft.com/office/drawing/2014/main" id="{B498956D-5A2D-43AF-9CFB-00620C6585D7}"/>
                  </a:ext>
                </a:extLst>
              </p:cNvPr>
              <p:cNvSpPr>
                <a:spLocks/>
              </p:cNvSpPr>
              <p:nvPr/>
            </p:nvSpPr>
            <p:spPr bwMode="auto">
              <a:xfrm>
                <a:off x="5434218" y="4002073"/>
                <a:ext cx="56964" cy="44843"/>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4" name="Freeform 144">
                <a:extLst>
                  <a:ext uri="{FF2B5EF4-FFF2-40B4-BE49-F238E27FC236}">
                    <a16:creationId xmlns:a16="http://schemas.microsoft.com/office/drawing/2014/main" id="{5FB75F03-542B-487E-8F89-A68C0A1BD06A}"/>
                  </a:ext>
                </a:extLst>
              </p:cNvPr>
              <p:cNvSpPr>
                <a:spLocks/>
              </p:cNvSpPr>
              <p:nvPr/>
            </p:nvSpPr>
            <p:spPr bwMode="auto">
              <a:xfrm>
                <a:off x="5441490" y="4020253"/>
                <a:ext cx="2424" cy="7271"/>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5" name="Freeform 145">
                <a:extLst>
                  <a:ext uri="{FF2B5EF4-FFF2-40B4-BE49-F238E27FC236}">
                    <a16:creationId xmlns:a16="http://schemas.microsoft.com/office/drawing/2014/main" id="{833C8032-B7E2-44C6-AB92-DB1BB215D873}"/>
                  </a:ext>
                </a:extLst>
              </p:cNvPr>
              <p:cNvSpPr>
                <a:spLocks/>
              </p:cNvSpPr>
              <p:nvPr/>
            </p:nvSpPr>
            <p:spPr bwMode="auto">
              <a:xfrm>
                <a:off x="5441490" y="4027525"/>
                <a:ext cx="7272" cy="9696"/>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6" name="Freeform 146">
                <a:extLst>
                  <a:ext uri="{FF2B5EF4-FFF2-40B4-BE49-F238E27FC236}">
                    <a16:creationId xmlns:a16="http://schemas.microsoft.com/office/drawing/2014/main" id="{9933B48E-9200-4CA0-9F9E-AA63C1793F49}"/>
                  </a:ext>
                </a:extLst>
              </p:cNvPr>
              <p:cNvSpPr>
                <a:spLocks/>
              </p:cNvSpPr>
              <p:nvPr/>
            </p:nvSpPr>
            <p:spPr bwMode="auto">
              <a:xfrm>
                <a:off x="5441490" y="4039644"/>
                <a:ext cx="2424" cy="7271"/>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7" name="Freeform 147">
                <a:extLst>
                  <a:ext uri="{FF2B5EF4-FFF2-40B4-BE49-F238E27FC236}">
                    <a16:creationId xmlns:a16="http://schemas.microsoft.com/office/drawing/2014/main" id="{0BF27999-E195-4B11-958E-A8414D4B8355}"/>
                  </a:ext>
                </a:extLst>
              </p:cNvPr>
              <p:cNvSpPr>
                <a:spLocks/>
              </p:cNvSpPr>
              <p:nvPr/>
            </p:nvSpPr>
            <p:spPr bwMode="auto">
              <a:xfrm>
                <a:off x="5443914" y="4039644"/>
                <a:ext cx="4848" cy="4848"/>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8" name="Freeform 148">
                <a:extLst>
                  <a:ext uri="{FF2B5EF4-FFF2-40B4-BE49-F238E27FC236}">
                    <a16:creationId xmlns:a16="http://schemas.microsoft.com/office/drawing/2014/main" id="{5FF67F43-C8C4-491B-9766-DABFF850E5F3}"/>
                  </a:ext>
                </a:extLst>
              </p:cNvPr>
              <p:cNvSpPr>
                <a:spLocks/>
              </p:cNvSpPr>
              <p:nvPr/>
            </p:nvSpPr>
            <p:spPr bwMode="auto">
              <a:xfrm>
                <a:off x="5448761" y="4037220"/>
                <a:ext cx="2424" cy="2424"/>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799" name="Freeform 149">
                <a:extLst>
                  <a:ext uri="{FF2B5EF4-FFF2-40B4-BE49-F238E27FC236}">
                    <a16:creationId xmlns:a16="http://schemas.microsoft.com/office/drawing/2014/main" id="{D21FC164-6C5C-42D9-A591-BF6072E5E19C}"/>
                  </a:ext>
                </a:extLst>
              </p:cNvPr>
              <p:cNvSpPr>
                <a:spLocks/>
              </p:cNvSpPr>
              <p:nvPr/>
            </p:nvSpPr>
            <p:spPr bwMode="auto">
              <a:xfrm>
                <a:off x="5436642" y="4027525"/>
                <a:ext cx="4848" cy="4848"/>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0" name="Freeform 150">
                <a:extLst>
                  <a:ext uri="{FF2B5EF4-FFF2-40B4-BE49-F238E27FC236}">
                    <a16:creationId xmlns:a16="http://schemas.microsoft.com/office/drawing/2014/main" id="{031B9DD8-373E-474F-8E0F-439288DD5B29}"/>
                  </a:ext>
                </a:extLst>
              </p:cNvPr>
              <p:cNvSpPr>
                <a:spLocks/>
              </p:cNvSpPr>
              <p:nvPr/>
            </p:nvSpPr>
            <p:spPr bwMode="auto">
              <a:xfrm>
                <a:off x="5451185" y="4027525"/>
                <a:ext cx="4848" cy="4848"/>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1" name="Freeform 151">
                <a:extLst>
                  <a:ext uri="{FF2B5EF4-FFF2-40B4-BE49-F238E27FC236}">
                    <a16:creationId xmlns:a16="http://schemas.microsoft.com/office/drawing/2014/main" id="{96192C62-08CB-4311-B2B7-9E66ED81580D}"/>
                  </a:ext>
                </a:extLst>
              </p:cNvPr>
              <p:cNvSpPr>
                <a:spLocks/>
              </p:cNvSpPr>
              <p:nvPr/>
            </p:nvSpPr>
            <p:spPr bwMode="auto">
              <a:xfrm>
                <a:off x="5298475" y="3941475"/>
                <a:ext cx="12120" cy="13331"/>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2" name="Freeform 152">
                <a:extLst>
                  <a:ext uri="{FF2B5EF4-FFF2-40B4-BE49-F238E27FC236}">
                    <a16:creationId xmlns:a16="http://schemas.microsoft.com/office/drawing/2014/main" id="{1867BAA9-7148-426F-9D8F-ECD95EE0FCE3}"/>
                  </a:ext>
                </a:extLst>
              </p:cNvPr>
              <p:cNvSpPr>
                <a:spLocks/>
              </p:cNvSpPr>
              <p:nvPr/>
            </p:nvSpPr>
            <p:spPr bwMode="auto">
              <a:xfrm>
                <a:off x="5311807" y="3922084"/>
                <a:ext cx="12120" cy="7271"/>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3" name="Freeform 156">
                <a:extLst>
                  <a:ext uri="{FF2B5EF4-FFF2-40B4-BE49-F238E27FC236}">
                    <a16:creationId xmlns:a16="http://schemas.microsoft.com/office/drawing/2014/main" id="{68F4C501-2265-49B3-B717-E1F4CA2BC07E}"/>
                  </a:ext>
                </a:extLst>
              </p:cNvPr>
              <p:cNvSpPr>
                <a:spLocks/>
              </p:cNvSpPr>
              <p:nvPr/>
            </p:nvSpPr>
            <p:spPr bwMode="auto">
              <a:xfrm>
                <a:off x="5305747" y="3942687"/>
                <a:ext cx="6060" cy="4848"/>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4" name="Freeform 159">
                <a:extLst>
                  <a:ext uri="{FF2B5EF4-FFF2-40B4-BE49-F238E27FC236}">
                    <a16:creationId xmlns:a16="http://schemas.microsoft.com/office/drawing/2014/main" id="{1F21E6F6-2616-4F96-A906-1E4ABF671D0E}"/>
                  </a:ext>
                </a:extLst>
              </p:cNvPr>
              <p:cNvSpPr>
                <a:spLocks/>
              </p:cNvSpPr>
              <p:nvPr/>
            </p:nvSpPr>
            <p:spPr bwMode="auto">
              <a:xfrm>
                <a:off x="6241402" y="3111279"/>
                <a:ext cx="67872" cy="82414"/>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5" name="Freeform 160">
                <a:extLst>
                  <a:ext uri="{FF2B5EF4-FFF2-40B4-BE49-F238E27FC236}">
                    <a16:creationId xmlns:a16="http://schemas.microsoft.com/office/drawing/2014/main" id="{0F6F520A-A442-4DA4-8386-82EC9AA0292C}"/>
                  </a:ext>
                </a:extLst>
              </p:cNvPr>
              <p:cNvSpPr>
                <a:spLocks/>
              </p:cNvSpPr>
              <p:nvPr/>
            </p:nvSpPr>
            <p:spPr bwMode="auto">
              <a:xfrm>
                <a:off x="6123838" y="3118550"/>
                <a:ext cx="173314" cy="126045"/>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6" name="Freeform 161">
                <a:extLst>
                  <a:ext uri="{FF2B5EF4-FFF2-40B4-BE49-F238E27FC236}">
                    <a16:creationId xmlns:a16="http://schemas.microsoft.com/office/drawing/2014/main" id="{AEB6B742-3451-4477-AA8F-43DCE6F2D411}"/>
                  </a:ext>
                </a:extLst>
              </p:cNvPr>
              <p:cNvSpPr>
                <a:spLocks/>
              </p:cNvSpPr>
              <p:nvPr/>
            </p:nvSpPr>
            <p:spPr bwMode="auto">
              <a:xfrm>
                <a:off x="6229281" y="3282165"/>
                <a:ext cx="58175" cy="59386"/>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7" name="Freeform 162">
                <a:extLst>
                  <a:ext uri="{FF2B5EF4-FFF2-40B4-BE49-F238E27FC236}">
                    <a16:creationId xmlns:a16="http://schemas.microsoft.com/office/drawing/2014/main" id="{7049BABC-4BBE-4470-B382-4F9340D6E188}"/>
                  </a:ext>
                </a:extLst>
              </p:cNvPr>
              <p:cNvSpPr>
                <a:spLocks/>
              </p:cNvSpPr>
              <p:nvPr/>
            </p:nvSpPr>
            <p:spPr bwMode="auto">
              <a:xfrm>
                <a:off x="6179590" y="2786471"/>
                <a:ext cx="94535" cy="67871"/>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8" name="Freeform 163">
                <a:extLst>
                  <a:ext uri="{FF2B5EF4-FFF2-40B4-BE49-F238E27FC236}">
                    <a16:creationId xmlns:a16="http://schemas.microsoft.com/office/drawing/2014/main" id="{5349F75F-D6E6-424B-B65F-78A34F06A3BF}"/>
                  </a:ext>
                </a:extLst>
              </p:cNvPr>
              <p:cNvSpPr>
                <a:spLocks/>
              </p:cNvSpPr>
              <p:nvPr/>
            </p:nvSpPr>
            <p:spPr bwMode="auto">
              <a:xfrm>
                <a:off x="6132323" y="2831314"/>
                <a:ext cx="141802" cy="75141"/>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09" name="Freeform 164">
                <a:extLst>
                  <a:ext uri="{FF2B5EF4-FFF2-40B4-BE49-F238E27FC236}">
                    <a16:creationId xmlns:a16="http://schemas.microsoft.com/office/drawing/2014/main" id="{6CEF53C3-2355-483A-921A-B7AFF496F310}"/>
                  </a:ext>
                </a:extLst>
              </p:cNvPr>
              <p:cNvSpPr>
                <a:spLocks/>
              </p:cNvSpPr>
              <p:nvPr/>
            </p:nvSpPr>
            <p:spPr bwMode="auto">
              <a:xfrm>
                <a:off x="6132323" y="2883428"/>
                <a:ext cx="111503" cy="82414"/>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0" name="Freeform 165">
                <a:extLst>
                  <a:ext uri="{FF2B5EF4-FFF2-40B4-BE49-F238E27FC236}">
                    <a16:creationId xmlns:a16="http://schemas.microsoft.com/office/drawing/2014/main" id="{3A623BE0-413D-48CD-AC3D-8E02EAB1BABB}"/>
                  </a:ext>
                </a:extLst>
              </p:cNvPr>
              <p:cNvSpPr>
                <a:spLocks/>
              </p:cNvSpPr>
              <p:nvPr/>
            </p:nvSpPr>
            <p:spPr bwMode="auto">
              <a:xfrm>
                <a:off x="6168683" y="2890701"/>
                <a:ext cx="190282" cy="147860"/>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1" name="Freeform 166">
                <a:extLst>
                  <a:ext uri="{FF2B5EF4-FFF2-40B4-BE49-F238E27FC236}">
                    <a16:creationId xmlns:a16="http://schemas.microsoft.com/office/drawing/2014/main" id="{FB9232FA-07E7-4FD4-A797-78123E4687E7}"/>
                  </a:ext>
                </a:extLst>
              </p:cNvPr>
              <p:cNvSpPr>
                <a:spLocks/>
              </p:cNvSpPr>
              <p:nvPr/>
            </p:nvSpPr>
            <p:spPr bwMode="auto">
              <a:xfrm>
                <a:off x="6001428" y="2931908"/>
                <a:ext cx="199978" cy="167251"/>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2" name="Freeform 167">
                <a:extLst>
                  <a:ext uri="{FF2B5EF4-FFF2-40B4-BE49-F238E27FC236}">
                    <a16:creationId xmlns:a16="http://schemas.microsoft.com/office/drawing/2014/main" id="{3D372E50-3369-4A69-B588-444370F95C34}"/>
                  </a:ext>
                </a:extLst>
              </p:cNvPr>
              <p:cNvSpPr>
                <a:spLocks/>
              </p:cNvSpPr>
              <p:nvPr/>
            </p:nvSpPr>
            <p:spPr bwMode="auto">
              <a:xfrm>
                <a:off x="5648740" y="3040984"/>
                <a:ext cx="250882" cy="237545"/>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13" name="Freeform 168">
                <a:extLst>
                  <a:ext uri="{FF2B5EF4-FFF2-40B4-BE49-F238E27FC236}">
                    <a16:creationId xmlns:a16="http://schemas.microsoft.com/office/drawing/2014/main" id="{0F5CB426-48DE-43CD-9549-5FDB6C08C121}"/>
                  </a:ext>
                </a:extLst>
              </p:cNvPr>
              <p:cNvSpPr>
                <a:spLocks/>
              </p:cNvSpPr>
              <p:nvPr/>
            </p:nvSpPr>
            <p:spPr bwMode="auto">
              <a:xfrm>
                <a:off x="5559053" y="3282165"/>
                <a:ext cx="75144" cy="139376"/>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4" name="Freeform 169">
                <a:extLst>
                  <a:ext uri="{FF2B5EF4-FFF2-40B4-BE49-F238E27FC236}">
                    <a16:creationId xmlns:a16="http://schemas.microsoft.com/office/drawing/2014/main" id="{21561D33-8160-4405-BCEE-3CEB7EC51831}"/>
                  </a:ext>
                </a:extLst>
              </p:cNvPr>
              <p:cNvSpPr>
                <a:spLocks/>
              </p:cNvSpPr>
              <p:nvPr/>
            </p:nvSpPr>
            <p:spPr bwMode="auto">
              <a:xfrm>
                <a:off x="5902045" y="3261562"/>
                <a:ext cx="19392" cy="42419"/>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5" name="Freeform 170">
                <a:extLst>
                  <a:ext uri="{FF2B5EF4-FFF2-40B4-BE49-F238E27FC236}">
                    <a16:creationId xmlns:a16="http://schemas.microsoft.com/office/drawing/2014/main" id="{24E45219-4472-44CB-8CA4-65C8A7EDFFA3}"/>
                  </a:ext>
                </a:extLst>
              </p:cNvPr>
              <p:cNvSpPr>
                <a:spLocks noEditPoints="1"/>
              </p:cNvSpPr>
              <p:nvPr/>
            </p:nvSpPr>
            <p:spPr bwMode="auto">
              <a:xfrm>
                <a:off x="5859626" y="3151273"/>
                <a:ext cx="231490" cy="277540"/>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6" name="Freeform 171">
                <a:extLst>
                  <a:ext uri="{FF2B5EF4-FFF2-40B4-BE49-F238E27FC236}">
                    <a16:creationId xmlns:a16="http://schemas.microsoft.com/office/drawing/2014/main" id="{5B461200-572C-478F-A515-A4CC644E2A4A}"/>
                  </a:ext>
                </a:extLst>
              </p:cNvPr>
              <p:cNvSpPr>
                <a:spLocks/>
              </p:cNvSpPr>
              <p:nvPr/>
            </p:nvSpPr>
            <p:spPr bwMode="auto">
              <a:xfrm>
                <a:off x="5851141" y="3127034"/>
                <a:ext cx="88475" cy="59386"/>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7" name="Freeform 172">
                <a:extLst>
                  <a:ext uri="{FF2B5EF4-FFF2-40B4-BE49-F238E27FC236}">
                    <a16:creationId xmlns:a16="http://schemas.microsoft.com/office/drawing/2014/main" id="{4C751791-45A0-41D6-A87F-3F6E911DD637}"/>
                  </a:ext>
                </a:extLst>
              </p:cNvPr>
              <p:cNvSpPr>
                <a:spLocks/>
              </p:cNvSpPr>
              <p:nvPr/>
            </p:nvSpPr>
            <p:spPr bwMode="auto">
              <a:xfrm>
                <a:off x="5914164" y="3091887"/>
                <a:ext cx="150287" cy="79989"/>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8" name="Freeform 173">
                <a:extLst>
                  <a:ext uri="{FF2B5EF4-FFF2-40B4-BE49-F238E27FC236}">
                    <a16:creationId xmlns:a16="http://schemas.microsoft.com/office/drawing/2014/main" id="{344A2D36-30B6-470A-9BCE-7C374B913C4C}"/>
                  </a:ext>
                </a:extLst>
              </p:cNvPr>
              <p:cNvSpPr>
                <a:spLocks/>
              </p:cNvSpPr>
              <p:nvPr/>
            </p:nvSpPr>
            <p:spPr bwMode="auto">
              <a:xfrm>
                <a:off x="5968704" y="3038560"/>
                <a:ext cx="123623" cy="72718"/>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19" name="Freeform 174">
                <a:extLst>
                  <a:ext uri="{FF2B5EF4-FFF2-40B4-BE49-F238E27FC236}">
                    <a16:creationId xmlns:a16="http://schemas.microsoft.com/office/drawing/2014/main" id="{018513AD-3182-40B1-B2AF-BEAA6ED67FCC}"/>
                  </a:ext>
                </a:extLst>
              </p:cNvPr>
              <p:cNvSpPr>
                <a:spLocks/>
              </p:cNvSpPr>
              <p:nvPr/>
            </p:nvSpPr>
            <p:spPr bwMode="auto">
              <a:xfrm>
                <a:off x="6158986" y="3226415"/>
                <a:ext cx="117563" cy="84838"/>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0" name="Freeform 175">
                <a:extLst>
                  <a:ext uri="{FF2B5EF4-FFF2-40B4-BE49-F238E27FC236}">
                    <a16:creationId xmlns:a16="http://schemas.microsoft.com/office/drawing/2014/main" id="{A6F600F0-6EA0-4F08-862F-B604B73B0C60}"/>
                  </a:ext>
                </a:extLst>
              </p:cNvPr>
              <p:cNvSpPr>
                <a:spLocks/>
              </p:cNvSpPr>
              <p:nvPr/>
            </p:nvSpPr>
            <p:spPr bwMode="auto">
              <a:xfrm>
                <a:off x="6092328" y="3176724"/>
                <a:ext cx="82415" cy="112713"/>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1" name="Freeform 176">
                <a:extLst>
                  <a:ext uri="{FF2B5EF4-FFF2-40B4-BE49-F238E27FC236}">
                    <a16:creationId xmlns:a16="http://schemas.microsoft.com/office/drawing/2014/main" id="{E7287D52-4BBC-4F56-B8D7-98B5481F732C}"/>
                  </a:ext>
                </a:extLst>
              </p:cNvPr>
              <p:cNvSpPr>
                <a:spLocks/>
              </p:cNvSpPr>
              <p:nvPr/>
            </p:nvSpPr>
            <p:spPr bwMode="auto">
              <a:xfrm>
                <a:off x="6123838" y="3276106"/>
                <a:ext cx="48479" cy="42419"/>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2" name="Freeform 177">
                <a:extLst>
                  <a:ext uri="{FF2B5EF4-FFF2-40B4-BE49-F238E27FC236}">
                    <a16:creationId xmlns:a16="http://schemas.microsoft.com/office/drawing/2014/main" id="{44750810-BA55-41C6-9849-42ADADA2FA5A}"/>
                  </a:ext>
                </a:extLst>
              </p:cNvPr>
              <p:cNvSpPr>
                <a:spLocks/>
              </p:cNvSpPr>
              <p:nvPr/>
            </p:nvSpPr>
            <p:spPr bwMode="auto">
              <a:xfrm>
                <a:off x="6102023" y="3263986"/>
                <a:ext cx="32724" cy="84838"/>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3" name="Freeform 178">
                <a:extLst>
                  <a:ext uri="{FF2B5EF4-FFF2-40B4-BE49-F238E27FC236}">
                    <a16:creationId xmlns:a16="http://schemas.microsoft.com/office/drawing/2014/main" id="{61BDE11A-F37C-4BDB-BE44-BED0BE845995}"/>
                  </a:ext>
                </a:extLst>
              </p:cNvPr>
              <p:cNvSpPr>
                <a:spLocks/>
              </p:cNvSpPr>
              <p:nvPr/>
            </p:nvSpPr>
            <p:spPr bwMode="auto">
              <a:xfrm>
                <a:off x="6043847" y="3106431"/>
                <a:ext cx="124835" cy="79989"/>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4" name="Freeform 179">
                <a:extLst>
                  <a:ext uri="{FF2B5EF4-FFF2-40B4-BE49-F238E27FC236}">
                    <a16:creationId xmlns:a16="http://schemas.microsoft.com/office/drawing/2014/main" id="{D700765E-7206-435B-A750-1C43F3BE64C0}"/>
                  </a:ext>
                </a:extLst>
              </p:cNvPr>
              <p:cNvSpPr>
                <a:spLocks/>
              </p:cNvSpPr>
              <p:nvPr/>
            </p:nvSpPr>
            <p:spPr bwMode="auto">
              <a:xfrm>
                <a:off x="6054755" y="3076131"/>
                <a:ext cx="111503" cy="58174"/>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5" name="Freeform 180">
                <a:extLst>
                  <a:ext uri="{FF2B5EF4-FFF2-40B4-BE49-F238E27FC236}">
                    <a16:creationId xmlns:a16="http://schemas.microsoft.com/office/drawing/2014/main" id="{4FE441C5-03FC-4FD7-9E86-FF78F7A916F3}"/>
                  </a:ext>
                </a:extLst>
              </p:cNvPr>
              <p:cNvSpPr>
                <a:spLocks/>
              </p:cNvSpPr>
              <p:nvPr/>
            </p:nvSpPr>
            <p:spPr bwMode="auto">
              <a:xfrm>
                <a:off x="5994156" y="3153697"/>
                <a:ext cx="56964" cy="44843"/>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6" name="Freeform 181">
                <a:extLst>
                  <a:ext uri="{FF2B5EF4-FFF2-40B4-BE49-F238E27FC236}">
                    <a16:creationId xmlns:a16="http://schemas.microsoft.com/office/drawing/2014/main" id="{1F9A28E7-B702-47F7-BBFC-762D16621CA2}"/>
                  </a:ext>
                </a:extLst>
              </p:cNvPr>
              <p:cNvSpPr>
                <a:spLocks/>
              </p:cNvSpPr>
              <p:nvPr/>
            </p:nvSpPr>
            <p:spPr bwMode="auto">
              <a:xfrm>
                <a:off x="5994156" y="3164604"/>
                <a:ext cx="115139" cy="113925"/>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7" name="Freeform 182">
                <a:extLst>
                  <a:ext uri="{FF2B5EF4-FFF2-40B4-BE49-F238E27FC236}">
                    <a16:creationId xmlns:a16="http://schemas.microsoft.com/office/drawing/2014/main" id="{5D5B4B36-8703-4964-B6B1-D4D89F492F93}"/>
                  </a:ext>
                </a:extLst>
              </p:cNvPr>
              <p:cNvSpPr>
                <a:spLocks/>
              </p:cNvSpPr>
              <p:nvPr/>
            </p:nvSpPr>
            <p:spPr bwMode="auto">
              <a:xfrm>
                <a:off x="6031727" y="3193691"/>
                <a:ext cx="79991" cy="77566"/>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8" name="Freeform 183">
                <a:extLst>
                  <a:ext uri="{FF2B5EF4-FFF2-40B4-BE49-F238E27FC236}">
                    <a16:creationId xmlns:a16="http://schemas.microsoft.com/office/drawing/2014/main" id="{5C6C3101-E841-4D2F-8E8D-BEE3BD77C784}"/>
                  </a:ext>
                </a:extLst>
              </p:cNvPr>
              <p:cNvSpPr>
                <a:spLocks/>
              </p:cNvSpPr>
              <p:nvPr/>
            </p:nvSpPr>
            <p:spPr bwMode="auto">
              <a:xfrm>
                <a:off x="6083843" y="3242171"/>
                <a:ext cx="39996" cy="47267"/>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29" name="Freeform 184">
                <a:extLst>
                  <a:ext uri="{FF2B5EF4-FFF2-40B4-BE49-F238E27FC236}">
                    <a16:creationId xmlns:a16="http://schemas.microsoft.com/office/drawing/2014/main" id="{E2700668-07F5-4448-B40D-03809C838CAA}"/>
                  </a:ext>
                </a:extLst>
              </p:cNvPr>
              <p:cNvSpPr>
                <a:spLocks noEditPoints="1"/>
              </p:cNvSpPr>
              <p:nvPr/>
            </p:nvSpPr>
            <p:spPr bwMode="auto">
              <a:xfrm>
                <a:off x="5893562" y="2843433"/>
                <a:ext cx="135742" cy="98169"/>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0" name="Freeform 185">
                <a:extLst>
                  <a:ext uri="{FF2B5EF4-FFF2-40B4-BE49-F238E27FC236}">
                    <a16:creationId xmlns:a16="http://schemas.microsoft.com/office/drawing/2014/main" id="{55B19B12-DF55-41B5-9E3B-A886FBC6C3B3}"/>
                  </a:ext>
                </a:extLst>
              </p:cNvPr>
              <p:cNvSpPr>
                <a:spLocks noEditPoints="1"/>
              </p:cNvSpPr>
              <p:nvPr/>
            </p:nvSpPr>
            <p:spPr bwMode="auto">
              <a:xfrm>
                <a:off x="5851141" y="2928271"/>
                <a:ext cx="173314" cy="215730"/>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31" name="Freeform 186">
                <a:extLst>
                  <a:ext uri="{FF2B5EF4-FFF2-40B4-BE49-F238E27FC236}">
                    <a16:creationId xmlns:a16="http://schemas.microsoft.com/office/drawing/2014/main" id="{3629F7B6-4732-43DF-A27A-7FA8B18B04F8}"/>
                  </a:ext>
                </a:extLst>
              </p:cNvPr>
              <p:cNvSpPr>
                <a:spLocks/>
              </p:cNvSpPr>
              <p:nvPr/>
            </p:nvSpPr>
            <p:spPr bwMode="auto">
              <a:xfrm>
                <a:off x="5808721" y="2971902"/>
                <a:ext cx="70295" cy="75141"/>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2" name="Freeform 187">
                <a:extLst>
                  <a:ext uri="{FF2B5EF4-FFF2-40B4-BE49-F238E27FC236}">
                    <a16:creationId xmlns:a16="http://schemas.microsoft.com/office/drawing/2014/main" id="{35A85B83-605F-4CE1-B8CB-B3E81883DE2A}"/>
                  </a:ext>
                </a:extLst>
              </p:cNvPr>
              <p:cNvSpPr>
                <a:spLocks/>
              </p:cNvSpPr>
              <p:nvPr/>
            </p:nvSpPr>
            <p:spPr bwMode="auto">
              <a:xfrm>
                <a:off x="5789330" y="3026441"/>
                <a:ext cx="79991" cy="59386"/>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3" name="Freeform 188">
                <a:extLst>
                  <a:ext uri="{FF2B5EF4-FFF2-40B4-BE49-F238E27FC236}">
                    <a16:creationId xmlns:a16="http://schemas.microsoft.com/office/drawing/2014/main" id="{499E4B01-826C-4D93-A3B4-2847497F56F7}"/>
                  </a:ext>
                </a:extLst>
              </p:cNvPr>
              <p:cNvSpPr>
                <a:spLocks/>
              </p:cNvSpPr>
              <p:nvPr/>
            </p:nvSpPr>
            <p:spPr bwMode="auto">
              <a:xfrm>
                <a:off x="5846294" y="3061588"/>
                <a:ext cx="23028" cy="24239"/>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4" name="Freeform 189">
                <a:extLst>
                  <a:ext uri="{FF2B5EF4-FFF2-40B4-BE49-F238E27FC236}">
                    <a16:creationId xmlns:a16="http://schemas.microsoft.com/office/drawing/2014/main" id="{BBCD883E-F7A4-4F84-A842-0C6666DA1902}"/>
                  </a:ext>
                </a:extLst>
              </p:cNvPr>
              <p:cNvSpPr>
                <a:spLocks/>
              </p:cNvSpPr>
              <p:nvPr/>
            </p:nvSpPr>
            <p:spPr bwMode="auto">
              <a:xfrm>
                <a:off x="6146867" y="2816770"/>
                <a:ext cx="32724" cy="21815"/>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5" name="Freeform 190">
                <a:extLst>
                  <a:ext uri="{FF2B5EF4-FFF2-40B4-BE49-F238E27FC236}">
                    <a16:creationId xmlns:a16="http://schemas.microsoft.com/office/drawing/2014/main" id="{8767995E-7A41-4C5A-8958-D399F9182CA7}"/>
                  </a:ext>
                </a:extLst>
              </p:cNvPr>
              <p:cNvSpPr>
                <a:spLocks/>
              </p:cNvSpPr>
              <p:nvPr/>
            </p:nvSpPr>
            <p:spPr bwMode="auto">
              <a:xfrm>
                <a:off x="6154139" y="2803439"/>
                <a:ext cx="20604" cy="13331"/>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6" name="Freeform 191">
                <a:extLst>
                  <a:ext uri="{FF2B5EF4-FFF2-40B4-BE49-F238E27FC236}">
                    <a16:creationId xmlns:a16="http://schemas.microsoft.com/office/drawing/2014/main" id="{97A77509-C914-4F23-8166-ABC8322DCA4F}"/>
                  </a:ext>
                </a:extLst>
              </p:cNvPr>
              <p:cNvSpPr>
                <a:spLocks/>
              </p:cNvSpPr>
              <p:nvPr/>
            </p:nvSpPr>
            <p:spPr bwMode="auto">
              <a:xfrm>
                <a:off x="6172318" y="2814346"/>
                <a:ext cx="7272" cy="9696"/>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7" name="Freeform 192">
                <a:extLst>
                  <a:ext uri="{FF2B5EF4-FFF2-40B4-BE49-F238E27FC236}">
                    <a16:creationId xmlns:a16="http://schemas.microsoft.com/office/drawing/2014/main" id="{0BC0841C-5BF6-4756-B9E0-76FE3BF766F8}"/>
                  </a:ext>
                </a:extLst>
              </p:cNvPr>
              <p:cNvSpPr>
                <a:spLocks/>
              </p:cNvSpPr>
              <p:nvPr/>
            </p:nvSpPr>
            <p:spPr bwMode="auto">
              <a:xfrm>
                <a:off x="6172318" y="2808286"/>
                <a:ext cx="7272" cy="2424"/>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8" name="Freeform 193">
                <a:extLst>
                  <a:ext uri="{FF2B5EF4-FFF2-40B4-BE49-F238E27FC236}">
                    <a16:creationId xmlns:a16="http://schemas.microsoft.com/office/drawing/2014/main" id="{8F95B26D-D6F3-48FE-8ED5-83B0018CA355}"/>
                  </a:ext>
                </a:extLst>
              </p:cNvPr>
              <p:cNvSpPr>
                <a:spLocks noEditPoints="1"/>
              </p:cNvSpPr>
              <p:nvPr/>
            </p:nvSpPr>
            <p:spPr bwMode="auto">
              <a:xfrm>
                <a:off x="5949312" y="2485903"/>
                <a:ext cx="244822" cy="435096"/>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39" name="Freeform 194">
                <a:extLst>
                  <a:ext uri="{FF2B5EF4-FFF2-40B4-BE49-F238E27FC236}">
                    <a16:creationId xmlns:a16="http://schemas.microsoft.com/office/drawing/2014/main" id="{9F2DA31D-8636-4B11-A012-09CEBA519C15}"/>
                  </a:ext>
                </a:extLst>
              </p:cNvPr>
              <p:cNvSpPr>
                <a:spLocks/>
              </p:cNvSpPr>
              <p:nvPr/>
            </p:nvSpPr>
            <p:spPr bwMode="auto">
              <a:xfrm>
                <a:off x="6584395" y="3284589"/>
                <a:ext cx="98171" cy="99381"/>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0" name="Freeform 195">
                <a:extLst>
                  <a:ext uri="{FF2B5EF4-FFF2-40B4-BE49-F238E27FC236}">
                    <a16:creationId xmlns:a16="http://schemas.microsoft.com/office/drawing/2014/main" id="{D65AA5DA-D648-4A1A-BDB1-58ACC1ACCD23}"/>
                  </a:ext>
                </a:extLst>
              </p:cNvPr>
              <p:cNvSpPr>
                <a:spLocks/>
              </p:cNvSpPr>
              <p:nvPr/>
            </p:nvSpPr>
            <p:spPr bwMode="auto">
              <a:xfrm>
                <a:off x="6577122" y="3343976"/>
                <a:ext cx="27876" cy="25451"/>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1" name="Freeform 196">
                <a:extLst>
                  <a:ext uri="{FF2B5EF4-FFF2-40B4-BE49-F238E27FC236}">
                    <a16:creationId xmlns:a16="http://schemas.microsoft.com/office/drawing/2014/main" id="{BFC7DFD5-DE36-4AD9-9191-D57FB825B28C}"/>
                  </a:ext>
                </a:extLst>
              </p:cNvPr>
              <p:cNvSpPr>
                <a:spLocks/>
              </p:cNvSpPr>
              <p:nvPr/>
            </p:nvSpPr>
            <p:spPr bwMode="auto">
              <a:xfrm>
                <a:off x="6551670" y="3303980"/>
                <a:ext cx="60599" cy="65446"/>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2" name="Freeform 197">
                <a:extLst>
                  <a:ext uri="{FF2B5EF4-FFF2-40B4-BE49-F238E27FC236}">
                    <a16:creationId xmlns:a16="http://schemas.microsoft.com/office/drawing/2014/main" id="{37E0D2A4-7367-4A48-8F12-643624236626}"/>
                  </a:ext>
                </a:extLst>
              </p:cNvPr>
              <p:cNvSpPr>
                <a:spLocks/>
              </p:cNvSpPr>
              <p:nvPr/>
            </p:nvSpPr>
            <p:spPr bwMode="auto">
              <a:xfrm>
                <a:off x="6485012" y="3244594"/>
                <a:ext cx="132107" cy="69082"/>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3" name="Freeform 198">
                <a:extLst>
                  <a:ext uri="{FF2B5EF4-FFF2-40B4-BE49-F238E27FC236}">
                    <a16:creationId xmlns:a16="http://schemas.microsoft.com/office/drawing/2014/main" id="{01FC588F-E116-410F-B888-74C5194C9B1B}"/>
                  </a:ext>
                </a:extLst>
              </p:cNvPr>
              <p:cNvSpPr>
                <a:spLocks/>
              </p:cNvSpPr>
              <p:nvPr/>
            </p:nvSpPr>
            <p:spPr bwMode="auto">
              <a:xfrm>
                <a:off x="6600150" y="2906456"/>
                <a:ext cx="772037" cy="420552"/>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4" name="Freeform 199">
                <a:extLst>
                  <a:ext uri="{FF2B5EF4-FFF2-40B4-BE49-F238E27FC236}">
                    <a16:creationId xmlns:a16="http://schemas.microsoft.com/office/drawing/2014/main" id="{C4EF6610-F240-4AD8-952E-A9196E82718B}"/>
                  </a:ext>
                </a:extLst>
              </p:cNvPr>
              <p:cNvSpPr>
                <a:spLocks noEditPoints="1"/>
              </p:cNvSpPr>
              <p:nvPr/>
            </p:nvSpPr>
            <p:spPr bwMode="auto">
              <a:xfrm>
                <a:off x="6109295" y="2448333"/>
                <a:ext cx="225430" cy="338139"/>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5" name="Freeform 200">
                <a:extLst>
                  <a:ext uri="{FF2B5EF4-FFF2-40B4-BE49-F238E27FC236}">
                    <a16:creationId xmlns:a16="http://schemas.microsoft.com/office/drawing/2014/main" id="{CC386A58-D35A-4E05-ADD4-2BE41662A63F}"/>
                  </a:ext>
                </a:extLst>
              </p:cNvPr>
              <p:cNvSpPr>
                <a:spLocks noEditPoints="1"/>
              </p:cNvSpPr>
              <p:nvPr/>
            </p:nvSpPr>
            <p:spPr bwMode="auto">
              <a:xfrm>
                <a:off x="5829325" y="2058080"/>
                <a:ext cx="498127" cy="780506"/>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6" name="Freeform 201">
                <a:extLst>
                  <a:ext uri="{FF2B5EF4-FFF2-40B4-BE49-F238E27FC236}">
                    <a16:creationId xmlns:a16="http://schemas.microsoft.com/office/drawing/2014/main" id="{14E6A639-8087-4FA6-A034-10E21B941489}"/>
                  </a:ext>
                </a:extLst>
              </p:cNvPr>
              <p:cNvSpPr>
                <a:spLocks noEditPoints="1"/>
              </p:cNvSpPr>
              <p:nvPr/>
            </p:nvSpPr>
            <p:spPr bwMode="auto">
              <a:xfrm>
                <a:off x="5584504" y="2751324"/>
                <a:ext cx="193918" cy="317535"/>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47" name="Freeform 202">
                <a:extLst>
                  <a:ext uri="{FF2B5EF4-FFF2-40B4-BE49-F238E27FC236}">
                    <a16:creationId xmlns:a16="http://schemas.microsoft.com/office/drawing/2014/main" id="{08279C21-06C1-4C67-ADB0-C22182F6E424}"/>
                  </a:ext>
                </a:extLst>
              </p:cNvPr>
              <p:cNvSpPr>
                <a:spLocks/>
              </p:cNvSpPr>
              <p:nvPr/>
            </p:nvSpPr>
            <p:spPr bwMode="auto">
              <a:xfrm>
                <a:off x="5603896" y="2708905"/>
                <a:ext cx="9696" cy="7271"/>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8" name="Freeform 203">
                <a:extLst>
                  <a:ext uri="{FF2B5EF4-FFF2-40B4-BE49-F238E27FC236}">
                    <a16:creationId xmlns:a16="http://schemas.microsoft.com/office/drawing/2014/main" id="{37206719-41B0-4A6D-9028-C8AE63D956AC}"/>
                  </a:ext>
                </a:extLst>
              </p:cNvPr>
              <p:cNvSpPr>
                <a:spLocks/>
              </p:cNvSpPr>
              <p:nvPr/>
            </p:nvSpPr>
            <p:spPr bwMode="auto">
              <a:xfrm>
                <a:off x="5616016" y="2716177"/>
                <a:ext cx="4848" cy="7271"/>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49" name="Freeform 204">
                <a:extLst>
                  <a:ext uri="{FF2B5EF4-FFF2-40B4-BE49-F238E27FC236}">
                    <a16:creationId xmlns:a16="http://schemas.microsoft.com/office/drawing/2014/main" id="{35C9E249-52CE-40A3-8282-6DD7595EC479}"/>
                  </a:ext>
                </a:extLst>
              </p:cNvPr>
              <p:cNvSpPr>
                <a:spLocks/>
              </p:cNvSpPr>
              <p:nvPr/>
            </p:nvSpPr>
            <p:spPr bwMode="auto">
              <a:xfrm>
                <a:off x="5613592" y="2728297"/>
                <a:ext cx="7272" cy="8484"/>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0" name="Freeform 205">
                <a:extLst>
                  <a:ext uri="{FF2B5EF4-FFF2-40B4-BE49-F238E27FC236}">
                    <a16:creationId xmlns:a16="http://schemas.microsoft.com/office/drawing/2014/main" id="{FA5E191E-A3B6-4D66-A5E5-4C8792AB97C7}"/>
                  </a:ext>
                </a:extLst>
              </p:cNvPr>
              <p:cNvSpPr>
                <a:spLocks/>
              </p:cNvSpPr>
              <p:nvPr/>
            </p:nvSpPr>
            <p:spPr bwMode="auto">
              <a:xfrm>
                <a:off x="5611168" y="2704058"/>
                <a:ext cx="9696" cy="14544"/>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1" name="Freeform 206">
                <a:extLst>
                  <a:ext uri="{FF2B5EF4-FFF2-40B4-BE49-F238E27FC236}">
                    <a16:creationId xmlns:a16="http://schemas.microsoft.com/office/drawing/2014/main" id="{66D98153-F7B3-4C11-B2B2-16AF491A9FA3}"/>
                  </a:ext>
                </a:extLst>
              </p:cNvPr>
              <p:cNvSpPr>
                <a:spLocks/>
              </p:cNvSpPr>
              <p:nvPr/>
            </p:nvSpPr>
            <p:spPr bwMode="auto">
              <a:xfrm>
                <a:off x="5613592" y="2704058"/>
                <a:ext cx="9696" cy="7271"/>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2" name="Freeform 207">
                <a:extLst>
                  <a:ext uri="{FF2B5EF4-FFF2-40B4-BE49-F238E27FC236}">
                    <a16:creationId xmlns:a16="http://schemas.microsoft.com/office/drawing/2014/main" id="{4CBC5763-337B-4397-9580-C7C80CA1AEE4}"/>
                  </a:ext>
                </a:extLst>
              </p:cNvPr>
              <p:cNvSpPr>
                <a:spLocks/>
              </p:cNvSpPr>
              <p:nvPr/>
            </p:nvSpPr>
            <p:spPr bwMode="auto">
              <a:xfrm>
                <a:off x="5620864" y="2701633"/>
                <a:ext cx="6060" cy="7271"/>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3" name="Freeform 208">
                <a:extLst>
                  <a:ext uri="{FF2B5EF4-FFF2-40B4-BE49-F238E27FC236}">
                    <a16:creationId xmlns:a16="http://schemas.microsoft.com/office/drawing/2014/main" id="{0B5E4599-8912-41B7-8DB5-8F5660887FDE}"/>
                  </a:ext>
                </a:extLst>
              </p:cNvPr>
              <p:cNvSpPr>
                <a:spLocks/>
              </p:cNvSpPr>
              <p:nvPr/>
            </p:nvSpPr>
            <p:spPr bwMode="auto">
              <a:xfrm>
                <a:off x="5620864" y="2701633"/>
                <a:ext cx="2424" cy="7271"/>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4" name="Freeform 209">
                <a:extLst>
                  <a:ext uri="{FF2B5EF4-FFF2-40B4-BE49-F238E27FC236}">
                    <a16:creationId xmlns:a16="http://schemas.microsoft.com/office/drawing/2014/main" id="{070A0DA4-DFA8-4AD8-B638-5004DE5669F1}"/>
                  </a:ext>
                </a:extLst>
              </p:cNvPr>
              <p:cNvSpPr>
                <a:spLocks noEditPoints="1"/>
              </p:cNvSpPr>
              <p:nvPr/>
            </p:nvSpPr>
            <p:spPr bwMode="auto">
              <a:xfrm>
                <a:off x="5566325" y="3238534"/>
                <a:ext cx="258154" cy="206034"/>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5" name="Freeform 223">
                <a:extLst>
                  <a:ext uri="{FF2B5EF4-FFF2-40B4-BE49-F238E27FC236}">
                    <a16:creationId xmlns:a16="http://schemas.microsoft.com/office/drawing/2014/main" id="{BD7765EE-463D-48B8-80B1-0219486A281C}"/>
                  </a:ext>
                </a:extLst>
              </p:cNvPr>
              <p:cNvSpPr>
                <a:spLocks/>
              </p:cNvSpPr>
              <p:nvPr/>
            </p:nvSpPr>
            <p:spPr bwMode="auto">
              <a:xfrm>
                <a:off x="6687413" y="3684539"/>
                <a:ext cx="16968" cy="39995"/>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6" name="Freeform 224">
                <a:extLst>
                  <a:ext uri="{FF2B5EF4-FFF2-40B4-BE49-F238E27FC236}">
                    <a16:creationId xmlns:a16="http://schemas.microsoft.com/office/drawing/2014/main" id="{6DCD115B-EDAA-4F53-8081-5A94DC58AF73}"/>
                  </a:ext>
                </a:extLst>
              </p:cNvPr>
              <p:cNvSpPr>
                <a:spLocks/>
              </p:cNvSpPr>
              <p:nvPr/>
            </p:nvSpPr>
            <p:spPr bwMode="auto">
              <a:xfrm>
                <a:off x="6789221" y="3682114"/>
                <a:ext cx="8484" cy="16967"/>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7" name="Freeform 225">
                <a:extLst>
                  <a:ext uri="{FF2B5EF4-FFF2-40B4-BE49-F238E27FC236}">
                    <a16:creationId xmlns:a16="http://schemas.microsoft.com/office/drawing/2014/main" id="{D6D4E03D-2007-4989-B6E1-22B892FDABF2}"/>
                  </a:ext>
                </a:extLst>
              </p:cNvPr>
              <p:cNvSpPr>
                <a:spLocks/>
              </p:cNvSpPr>
              <p:nvPr/>
            </p:nvSpPr>
            <p:spPr bwMode="auto">
              <a:xfrm>
                <a:off x="6694685" y="3689386"/>
                <a:ext cx="100595" cy="89686"/>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8" name="Freeform 226">
                <a:extLst>
                  <a:ext uri="{FF2B5EF4-FFF2-40B4-BE49-F238E27FC236}">
                    <a16:creationId xmlns:a16="http://schemas.microsoft.com/office/drawing/2014/main" id="{48456649-7C07-4386-BB9F-6E3A3FBC4D38}"/>
                  </a:ext>
                </a:extLst>
              </p:cNvPr>
              <p:cNvSpPr>
                <a:spLocks/>
              </p:cNvSpPr>
              <p:nvPr/>
            </p:nvSpPr>
            <p:spPr bwMode="auto">
              <a:xfrm>
                <a:off x="6772253" y="3663935"/>
                <a:ext cx="23028" cy="13331"/>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59" name="Freeform 227">
                <a:extLst>
                  <a:ext uri="{FF2B5EF4-FFF2-40B4-BE49-F238E27FC236}">
                    <a16:creationId xmlns:a16="http://schemas.microsoft.com/office/drawing/2014/main" id="{58044476-7ED0-49F6-849B-D541A7426B8F}"/>
                  </a:ext>
                </a:extLst>
              </p:cNvPr>
              <p:cNvSpPr>
                <a:spLocks/>
              </p:cNvSpPr>
              <p:nvPr/>
            </p:nvSpPr>
            <p:spPr bwMode="auto">
              <a:xfrm>
                <a:off x="6640146" y="3592429"/>
                <a:ext cx="4848" cy="12120"/>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0" name="Freeform 228">
                <a:extLst>
                  <a:ext uri="{FF2B5EF4-FFF2-40B4-BE49-F238E27FC236}">
                    <a16:creationId xmlns:a16="http://schemas.microsoft.com/office/drawing/2014/main" id="{1F77D995-B5F6-4BBD-B354-8A9352E57BBD}"/>
                  </a:ext>
                </a:extLst>
              </p:cNvPr>
              <p:cNvSpPr>
                <a:spLocks/>
              </p:cNvSpPr>
              <p:nvPr/>
            </p:nvSpPr>
            <p:spPr bwMode="auto">
              <a:xfrm>
                <a:off x="6394113" y="3526983"/>
                <a:ext cx="13332" cy="35147"/>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1" name="Freeform 229">
                <a:extLst>
                  <a:ext uri="{FF2B5EF4-FFF2-40B4-BE49-F238E27FC236}">
                    <a16:creationId xmlns:a16="http://schemas.microsoft.com/office/drawing/2014/main" id="{58261AD1-2BAF-4D63-A00A-D0C4022999F2}"/>
                  </a:ext>
                </a:extLst>
              </p:cNvPr>
              <p:cNvSpPr>
                <a:spLocks/>
              </p:cNvSpPr>
              <p:nvPr/>
            </p:nvSpPr>
            <p:spPr bwMode="auto">
              <a:xfrm>
                <a:off x="6384416" y="3508803"/>
                <a:ext cx="23028" cy="95745"/>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2" name="Freeform 230">
                <a:extLst>
                  <a:ext uri="{FF2B5EF4-FFF2-40B4-BE49-F238E27FC236}">
                    <a16:creationId xmlns:a16="http://schemas.microsoft.com/office/drawing/2014/main" id="{EE1EA005-871C-4A2C-B3DE-6223900B780F}"/>
                  </a:ext>
                </a:extLst>
              </p:cNvPr>
              <p:cNvSpPr>
                <a:spLocks/>
              </p:cNvSpPr>
              <p:nvPr/>
            </p:nvSpPr>
            <p:spPr bwMode="auto">
              <a:xfrm>
                <a:off x="6379569" y="3553646"/>
                <a:ext cx="9696" cy="10907"/>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3" name="Freeform 231">
                <a:extLst>
                  <a:ext uri="{FF2B5EF4-FFF2-40B4-BE49-F238E27FC236}">
                    <a16:creationId xmlns:a16="http://schemas.microsoft.com/office/drawing/2014/main" id="{4FF1E3E2-CA98-4F66-A0CE-A343E22CE856}"/>
                  </a:ext>
                </a:extLst>
              </p:cNvPr>
              <p:cNvSpPr>
                <a:spLocks noEditPoints="1"/>
              </p:cNvSpPr>
              <p:nvPr/>
            </p:nvSpPr>
            <p:spPr bwMode="auto">
              <a:xfrm>
                <a:off x="6109295" y="3289438"/>
                <a:ext cx="159982" cy="184219"/>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4" name="Freeform 237">
                <a:extLst>
                  <a:ext uri="{FF2B5EF4-FFF2-40B4-BE49-F238E27FC236}">
                    <a16:creationId xmlns:a16="http://schemas.microsoft.com/office/drawing/2014/main" id="{44A60B04-08E7-4C30-A997-68923390AEE3}"/>
                  </a:ext>
                </a:extLst>
              </p:cNvPr>
              <p:cNvSpPr>
                <a:spLocks noEditPoints="1"/>
              </p:cNvSpPr>
              <p:nvPr/>
            </p:nvSpPr>
            <p:spPr bwMode="auto">
              <a:xfrm>
                <a:off x="6106871" y="2010813"/>
                <a:ext cx="3194801" cy="1300440"/>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solidFill>
                <a:schemeClr val="accent1"/>
              </a:solidFill>
              <a:ln w="3175" cmpd="sng">
                <a:solidFill>
                  <a:schemeClr val="bg1"/>
                </a:solidFill>
                <a:round/>
                <a:headEnd/>
                <a:tailEnd/>
              </a:ln>
            </p:spPr>
            <p:txBody>
              <a:bodyPr/>
              <a:lstStyle/>
              <a:p>
                <a:endParaRPr lang="en-GB" sz="1539">
                  <a:solidFill>
                    <a:schemeClr val="accent1"/>
                  </a:solidFill>
                </a:endParaRPr>
              </a:p>
            </p:txBody>
          </p:sp>
          <p:sp>
            <p:nvSpPr>
              <p:cNvPr id="865" name="Freeform 273">
                <a:extLst>
                  <a:ext uri="{FF2B5EF4-FFF2-40B4-BE49-F238E27FC236}">
                    <a16:creationId xmlns:a16="http://schemas.microsoft.com/office/drawing/2014/main" id="{3537DBD5-47BB-403B-B7FB-3B1D19EF7981}"/>
                  </a:ext>
                </a:extLst>
              </p:cNvPr>
              <p:cNvSpPr>
                <a:spLocks/>
              </p:cNvSpPr>
              <p:nvPr/>
            </p:nvSpPr>
            <p:spPr bwMode="auto">
              <a:xfrm>
                <a:off x="5420886" y="3519711"/>
                <a:ext cx="13332" cy="7271"/>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6" name="Freeform 274">
                <a:extLst>
                  <a:ext uri="{FF2B5EF4-FFF2-40B4-BE49-F238E27FC236}">
                    <a16:creationId xmlns:a16="http://schemas.microsoft.com/office/drawing/2014/main" id="{E68689EA-450B-4AB4-A20E-8607C6FD848A}"/>
                  </a:ext>
                </a:extLst>
              </p:cNvPr>
              <p:cNvSpPr>
                <a:spLocks/>
              </p:cNvSpPr>
              <p:nvPr/>
            </p:nvSpPr>
            <p:spPr bwMode="auto">
              <a:xfrm>
                <a:off x="6546822" y="4557153"/>
                <a:ext cx="9696" cy="15756"/>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7" name="Freeform 275">
                <a:extLst>
                  <a:ext uri="{FF2B5EF4-FFF2-40B4-BE49-F238E27FC236}">
                    <a16:creationId xmlns:a16="http://schemas.microsoft.com/office/drawing/2014/main" id="{263A97E0-9982-4A6F-AB0C-BD624DB02A64}"/>
                  </a:ext>
                </a:extLst>
              </p:cNvPr>
              <p:cNvSpPr>
                <a:spLocks/>
              </p:cNvSpPr>
              <p:nvPr/>
            </p:nvSpPr>
            <p:spPr bwMode="auto">
              <a:xfrm>
                <a:off x="6579547" y="4587453"/>
                <a:ext cx="7272" cy="12120"/>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8" name="Freeform 276">
                <a:extLst>
                  <a:ext uri="{FF2B5EF4-FFF2-40B4-BE49-F238E27FC236}">
                    <a16:creationId xmlns:a16="http://schemas.microsoft.com/office/drawing/2014/main" id="{8E15548D-2B4B-4458-A9C0-BD1B48DD9D1E}"/>
                  </a:ext>
                </a:extLst>
              </p:cNvPr>
              <p:cNvSpPr>
                <a:spLocks/>
              </p:cNvSpPr>
              <p:nvPr/>
            </p:nvSpPr>
            <p:spPr bwMode="auto">
              <a:xfrm>
                <a:off x="6565003" y="4575333"/>
                <a:ext cx="7272" cy="7271"/>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69" name="Freeform 277">
                <a:extLst>
                  <a:ext uri="{FF2B5EF4-FFF2-40B4-BE49-F238E27FC236}">
                    <a16:creationId xmlns:a16="http://schemas.microsoft.com/office/drawing/2014/main" id="{41E18886-ED6A-4429-960D-F7F19184E5E3}"/>
                  </a:ext>
                </a:extLst>
              </p:cNvPr>
              <p:cNvSpPr>
                <a:spLocks/>
              </p:cNvSpPr>
              <p:nvPr/>
            </p:nvSpPr>
            <p:spPr bwMode="auto">
              <a:xfrm>
                <a:off x="6289881" y="4319608"/>
                <a:ext cx="207250" cy="25330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0" name="Freeform 278">
                <a:extLst>
                  <a:ext uri="{FF2B5EF4-FFF2-40B4-BE49-F238E27FC236}">
                    <a16:creationId xmlns:a16="http://schemas.microsoft.com/office/drawing/2014/main" id="{B2C5AB19-BE7B-42A7-99E8-AEF69A538CE3}"/>
                  </a:ext>
                </a:extLst>
              </p:cNvPr>
              <p:cNvSpPr>
                <a:spLocks/>
              </p:cNvSpPr>
              <p:nvPr/>
            </p:nvSpPr>
            <p:spPr bwMode="auto">
              <a:xfrm>
                <a:off x="6471680" y="4425049"/>
                <a:ext cx="10907" cy="23027"/>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1" name="Freeform 279">
                <a:extLst>
                  <a:ext uri="{FF2B5EF4-FFF2-40B4-BE49-F238E27FC236}">
                    <a16:creationId xmlns:a16="http://schemas.microsoft.com/office/drawing/2014/main" id="{2653DB0F-7287-4E98-9C5A-AB5C8363FA72}"/>
                  </a:ext>
                </a:extLst>
              </p:cNvPr>
              <p:cNvSpPr>
                <a:spLocks/>
              </p:cNvSpPr>
              <p:nvPr/>
            </p:nvSpPr>
            <p:spPr bwMode="auto">
              <a:xfrm>
                <a:off x="6478952" y="4409294"/>
                <a:ext cx="6060" cy="13331"/>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2" name="Freeform 280">
                <a:extLst>
                  <a:ext uri="{FF2B5EF4-FFF2-40B4-BE49-F238E27FC236}">
                    <a16:creationId xmlns:a16="http://schemas.microsoft.com/office/drawing/2014/main" id="{D88F0D13-D35D-47DF-9A18-876EBDA93772}"/>
                  </a:ext>
                </a:extLst>
              </p:cNvPr>
              <p:cNvSpPr>
                <a:spLocks/>
              </p:cNvSpPr>
              <p:nvPr/>
            </p:nvSpPr>
            <p:spPr bwMode="auto">
              <a:xfrm>
                <a:off x="6478952" y="4469892"/>
                <a:ext cx="10907" cy="12120"/>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3" name="Freeform 281">
                <a:extLst>
                  <a:ext uri="{FF2B5EF4-FFF2-40B4-BE49-F238E27FC236}">
                    <a16:creationId xmlns:a16="http://schemas.microsoft.com/office/drawing/2014/main" id="{AE1552BC-065B-4DDD-9EF0-C2F49B89C405}"/>
                  </a:ext>
                </a:extLst>
              </p:cNvPr>
              <p:cNvSpPr>
                <a:spLocks/>
              </p:cNvSpPr>
              <p:nvPr/>
            </p:nvSpPr>
            <p:spPr bwMode="auto">
              <a:xfrm>
                <a:off x="6769829" y="4780155"/>
                <a:ext cx="19392" cy="18180"/>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4" name="Freeform 282">
                <a:extLst>
                  <a:ext uri="{FF2B5EF4-FFF2-40B4-BE49-F238E27FC236}">
                    <a16:creationId xmlns:a16="http://schemas.microsoft.com/office/drawing/2014/main" id="{C1399089-CE40-4875-B475-069171CA37D1}"/>
                  </a:ext>
                </a:extLst>
              </p:cNvPr>
              <p:cNvSpPr>
                <a:spLocks/>
              </p:cNvSpPr>
              <p:nvPr/>
            </p:nvSpPr>
            <p:spPr bwMode="auto">
              <a:xfrm>
                <a:off x="6804976" y="4757128"/>
                <a:ext cx="19392" cy="20604"/>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5" name="Freeform 283">
                <a:extLst>
                  <a:ext uri="{FF2B5EF4-FFF2-40B4-BE49-F238E27FC236}">
                    <a16:creationId xmlns:a16="http://schemas.microsoft.com/office/drawing/2014/main" id="{625ABA1B-07A2-4DE7-8046-50636A5C664D}"/>
                  </a:ext>
                </a:extLst>
              </p:cNvPr>
              <p:cNvSpPr>
                <a:spLocks/>
              </p:cNvSpPr>
              <p:nvPr/>
            </p:nvSpPr>
            <p:spPr bwMode="auto">
              <a:xfrm>
                <a:off x="6048696" y="3251866"/>
                <a:ext cx="15756" cy="4848"/>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6" name="Freeform 284">
                <a:extLst>
                  <a:ext uri="{FF2B5EF4-FFF2-40B4-BE49-F238E27FC236}">
                    <a16:creationId xmlns:a16="http://schemas.microsoft.com/office/drawing/2014/main" id="{C691FC68-F9DE-402E-BF27-075D00F02A57}"/>
                  </a:ext>
                </a:extLst>
              </p:cNvPr>
              <p:cNvSpPr>
                <a:spLocks/>
              </p:cNvSpPr>
              <p:nvPr/>
            </p:nvSpPr>
            <p:spPr bwMode="auto">
              <a:xfrm>
                <a:off x="6048696" y="3249442"/>
                <a:ext cx="13332" cy="2424"/>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7" name="Freeform 285">
                <a:extLst>
                  <a:ext uri="{FF2B5EF4-FFF2-40B4-BE49-F238E27FC236}">
                    <a16:creationId xmlns:a16="http://schemas.microsoft.com/office/drawing/2014/main" id="{241E6859-28FB-47B8-8E97-AA6C105EDEC3}"/>
                  </a:ext>
                </a:extLst>
              </p:cNvPr>
              <p:cNvSpPr>
                <a:spLocks/>
              </p:cNvSpPr>
              <p:nvPr/>
            </p:nvSpPr>
            <p:spPr bwMode="auto">
              <a:xfrm>
                <a:off x="6051120" y="3261562"/>
                <a:ext cx="10907" cy="2424"/>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8" name="Freeform 286">
                <a:extLst>
                  <a:ext uri="{FF2B5EF4-FFF2-40B4-BE49-F238E27FC236}">
                    <a16:creationId xmlns:a16="http://schemas.microsoft.com/office/drawing/2014/main" id="{916E7292-7E50-44AD-97B4-9D02F0BAB3F8}"/>
                  </a:ext>
                </a:extLst>
              </p:cNvPr>
              <p:cNvSpPr>
                <a:spLocks/>
              </p:cNvSpPr>
              <p:nvPr/>
            </p:nvSpPr>
            <p:spPr bwMode="auto">
              <a:xfrm>
                <a:off x="6011124" y="3202176"/>
                <a:ext cx="6060" cy="7271"/>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79" name="Freeform 287">
                <a:extLst>
                  <a:ext uri="{FF2B5EF4-FFF2-40B4-BE49-F238E27FC236}">
                    <a16:creationId xmlns:a16="http://schemas.microsoft.com/office/drawing/2014/main" id="{1633E188-D778-4A78-87FE-F3852B53A01C}"/>
                  </a:ext>
                </a:extLst>
              </p:cNvPr>
              <p:cNvSpPr>
                <a:spLocks/>
              </p:cNvSpPr>
              <p:nvPr/>
            </p:nvSpPr>
            <p:spPr bwMode="auto">
              <a:xfrm>
                <a:off x="6008700" y="3202176"/>
                <a:ext cx="6060" cy="16967"/>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80" name="Freeform 288">
                <a:extLst>
                  <a:ext uri="{FF2B5EF4-FFF2-40B4-BE49-F238E27FC236}">
                    <a16:creationId xmlns:a16="http://schemas.microsoft.com/office/drawing/2014/main" id="{51C6F8F7-009D-40AE-8713-26EB8E327DBC}"/>
                  </a:ext>
                </a:extLst>
              </p:cNvPr>
              <p:cNvSpPr>
                <a:spLocks/>
              </p:cNvSpPr>
              <p:nvPr/>
            </p:nvSpPr>
            <p:spPr bwMode="auto">
              <a:xfrm>
                <a:off x="6014760" y="3211871"/>
                <a:ext cx="9696" cy="14544"/>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81" name="Freeform 301">
                <a:extLst>
                  <a:ext uri="{FF2B5EF4-FFF2-40B4-BE49-F238E27FC236}">
                    <a16:creationId xmlns:a16="http://schemas.microsoft.com/office/drawing/2014/main" id="{77BB181A-C23F-4E3B-92D5-118C2CDCDD94}"/>
                  </a:ext>
                </a:extLst>
              </p:cNvPr>
              <p:cNvSpPr>
                <a:spLocks/>
              </p:cNvSpPr>
              <p:nvPr/>
            </p:nvSpPr>
            <p:spPr bwMode="auto">
              <a:xfrm>
                <a:off x="5771151" y="3268834"/>
                <a:ext cx="4848" cy="7271"/>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sp>
            <p:nvSpPr>
              <p:cNvPr id="882" name="Freeform 861">
                <a:extLst>
                  <a:ext uri="{FF2B5EF4-FFF2-40B4-BE49-F238E27FC236}">
                    <a16:creationId xmlns:a16="http://schemas.microsoft.com/office/drawing/2014/main" id="{05E725A0-F925-4FC8-A372-3A6063A0BA04}"/>
                  </a:ext>
                </a:extLst>
              </p:cNvPr>
              <p:cNvSpPr/>
              <p:nvPr/>
            </p:nvSpPr>
            <p:spPr bwMode="ltGray">
              <a:xfrm>
                <a:off x="6185924" y="4020357"/>
                <a:ext cx="198470" cy="56373"/>
              </a:xfrm>
              <a:custGeom>
                <a:avLst/>
                <a:gdLst>
                  <a:gd name="connsiteX0" fmla="*/ 0 w 235744"/>
                  <a:gd name="connsiteY0" fmla="*/ 64294 h 66960"/>
                  <a:gd name="connsiteX1" fmla="*/ 16669 w 235744"/>
                  <a:gd name="connsiteY1" fmla="*/ 54769 h 66960"/>
                  <a:gd name="connsiteX2" fmla="*/ 14288 w 235744"/>
                  <a:gd name="connsiteY2" fmla="*/ 47625 h 66960"/>
                  <a:gd name="connsiteX3" fmla="*/ 16669 w 235744"/>
                  <a:gd name="connsiteY3" fmla="*/ 35719 h 66960"/>
                  <a:gd name="connsiteX4" fmla="*/ 30956 w 235744"/>
                  <a:gd name="connsiteY4" fmla="*/ 30956 h 66960"/>
                  <a:gd name="connsiteX5" fmla="*/ 38100 w 235744"/>
                  <a:gd name="connsiteY5" fmla="*/ 35719 h 66960"/>
                  <a:gd name="connsiteX6" fmla="*/ 42863 w 235744"/>
                  <a:gd name="connsiteY6" fmla="*/ 42863 h 66960"/>
                  <a:gd name="connsiteX7" fmla="*/ 50006 w 235744"/>
                  <a:gd name="connsiteY7" fmla="*/ 50006 h 66960"/>
                  <a:gd name="connsiteX8" fmla="*/ 52388 w 235744"/>
                  <a:gd name="connsiteY8" fmla="*/ 57150 h 66960"/>
                  <a:gd name="connsiteX9" fmla="*/ 71438 w 235744"/>
                  <a:gd name="connsiteY9" fmla="*/ 57150 h 66960"/>
                  <a:gd name="connsiteX10" fmla="*/ 95250 w 235744"/>
                  <a:gd name="connsiteY10" fmla="*/ 59531 h 66960"/>
                  <a:gd name="connsiteX11" fmla="*/ 100013 w 235744"/>
                  <a:gd name="connsiteY11" fmla="*/ 66675 h 66960"/>
                  <a:gd name="connsiteX12" fmla="*/ 114300 w 235744"/>
                  <a:gd name="connsiteY12" fmla="*/ 64294 h 66960"/>
                  <a:gd name="connsiteX13" fmla="*/ 116681 w 235744"/>
                  <a:gd name="connsiteY13" fmla="*/ 52388 h 66960"/>
                  <a:gd name="connsiteX14" fmla="*/ 140494 w 235744"/>
                  <a:gd name="connsiteY14" fmla="*/ 50006 h 66960"/>
                  <a:gd name="connsiteX15" fmla="*/ 147638 w 235744"/>
                  <a:gd name="connsiteY15" fmla="*/ 47625 h 66960"/>
                  <a:gd name="connsiteX16" fmla="*/ 152400 w 235744"/>
                  <a:gd name="connsiteY16" fmla="*/ 40481 h 66960"/>
                  <a:gd name="connsiteX17" fmla="*/ 169069 w 235744"/>
                  <a:gd name="connsiteY17" fmla="*/ 38100 h 66960"/>
                  <a:gd name="connsiteX18" fmla="*/ 176213 w 235744"/>
                  <a:gd name="connsiteY18" fmla="*/ 35719 h 66960"/>
                  <a:gd name="connsiteX19" fmla="*/ 178594 w 235744"/>
                  <a:gd name="connsiteY19" fmla="*/ 23813 h 66960"/>
                  <a:gd name="connsiteX20" fmla="*/ 180975 w 235744"/>
                  <a:gd name="connsiteY20" fmla="*/ 16669 h 66960"/>
                  <a:gd name="connsiteX21" fmla="*/ 183356 w 235744"/>
                  <a:gd name="connsiteY21" fmla="*/ 2381 h 66960"/>
                  <a:gd name="connsiteX22" fmla="*/ 190500 w 235744"/>
                  <a:gd name="connsiteY22" fmla="*/ 0 h 66960"/>
                  <a:gd name="connsiteX23" fmla="*/ 195263 w 235744"/>
                  <a:gd name="connsiteY23" fmla="*/ 16669 h 66960"/>
                  <a:gd name="connsiteX24" fmla="*/ 200025 w 235744"/>
                  <a:gd name="connsiteY24" fmla="*/ 30956 h 66960"/>
                  <a:gd name="connsiteX25" fmla="*/ 216694 w 235744"/>
                  <a:gd name="connsiteY25" fmla="*/ 47625 h 66960"/>
                  <a:gd name="connsiteX26" fmla="*/ 228600 w 235744"/>
                  <a:gd name="connsiteY26" fmla="*/ 50006 h 66960"/>
                  <a:gd name="connsiteX27" fmla="*/ 235744 w 235744"/>
                  <a:gd name="connsiteY27" fmla="*/ 54769 h 6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5744" h="66960">
                    <a:moveTo>
                      <a:pt x="0" y="64294"/>
                    </a:moveTo>
                    <a:cubicBezTo>
                      <a:pt x="7024" y="62889"/>
                      <a:pt x="15098" y="64193"/>
                      <a:pt x="16669" y="54769"/>
                    </a:cubicBezTo>
                    <a:cubicBezTo>
                      <a:pt x="17082" y="52293"/>
                      <a:pt x="15082" y="50006"/>
                      <a:pt x="14288" y="47625"/>
                    </a:cubicBezTo>
                    <a:cubicBezTo>
                      <a:pt x="15082" y="43656"/>
                      <a:pt x="13807" y="38581"/>
                      <a:pt x="16669" y="35719"/>
                    </a:cubicBezTo>
                    <a:cubicBezTo>
                      <a:pt x="20219" y="32169"/>
                      <a:pt x="30956" y="30956"/>
                      <a:pt x="30956" y="30956"/>
                    </a:cubicBezTo>
                    <a:cubicBezTo>
                      <a:pt x="33337" y="32544"/>
                      <a:pt x="36076" y="33695"/>
                      <a:pt x="38100" y="35719"/>
                    </a:cubicBezTo>
                    <a:cubicBezTo>
                      <a:pt x="40124" y="37743"/>
                      <a:pt x="41031" y="40664"/>
                      <a:pt x="42863" y="42863"/>
                    </a:cubicBezTo>
                    <a:cubicBezTo>
                      <a:pt x="45019" y="45450"/>
                      <a:pt x="47625" y="47625"/>
                      <a:pt x="50006" y="50006"/>
                    </a:cubicBezTo>
                    <a:cubicBezTo>
                      <a:pt x="50800" y="52387"/>
                      <a:pt x="50613" y="55375"/>
                      <a:pt x="52388" y="57150"/>
                    </a:cubicBezTo>
                    <a:cubicBezTo>
                      <a:pt x="57269" y="62031"/>
                      <a:pt x="66910" y="58055"/>
                      <a:pt x="71438" y="57150"/>
                    </a:cubicBezTo>
                    <a:cubicBezTo>
                      <a:pt x="79375" y="57944"/>
                      <a:pt x="87682" y="57008"/>
                      <a:pt x="95250" y="59531"/>
                    </a:cubicBezTo>
                    <a:cubicBezTo>
                      <a:pt x="97965" y="60436"/>
                      <a:pt x="97236" y="65981"/>
                      <a:pt x="100013" y="66675"/>
                    </a:cubicBezTo>
                    <a:cubicBezTo>
                      <a:pt x="104697" y="67846"/>
                      <a:pt x="109538" y="65088"/>
                      <a:pt x="114300" y="64294"/>
                    </a:cubicBezTo>
                    <a:cubicBezTo>
                      <a:pt x="115094" y="60325"/>
                      <a:pt x="114673" y="55902"/>
                      <a:pt x="116681" y="52388"/>
                    </a:cubicBezTo>
                    <a:cubicBezTo>
                      <a:pt x="121734" y="43546"/>
                      <a:pt x="134251" y="49114"/>
                      <a:pt x="140494" y="50006"/>
                    </a:cubicBezTo>
                    <a:cubicBezTo>
                      <a:pt x="142875" y="49212"/>
                      <a:pt x="145678" y="49193"/>
                      <a:pt x="147638" y="47625"/>
                    </a:cubicBezTo>
                    <a:cubicBezTo>
                      <a:pt x="149873" y="45837"/>
                      <a:pt x="149785" y="41643"/>
                      <a:pt x="152400" y="40481"/>
                    </a:cubicBezTo>
                    <a:cubicBezTo>
                      <a:pt x="157529" y="38201"/>
                      <a:pt x="163513" y="38894"/>
                      <a:pt x="169069" y="38100"/>
                    </a:cubicBezTo>
                    <a:cubicBezTo>
                      <a:pt x="171450" y="37306"/>
                      <a:pt x="174821" y="37808"/>
                      <a:pt x="176213" y="35719"/>
                    </a:cubicBezTo>
                    <a:cubicBezTo>
                      <a:pt x="178458" y="32352"/>
                      <a:pt x="177612" y="27739"/>
                      <a:pt x="178594" y="23813"/>
                    </a:cubicBezTo>
                    <a:cubicBezTo>
                      <a:pt x="179203" y="21378"/>
                      <a:pt x="180431" y="19119"/>
                      <a:pt x="180975" y="16669"/>
                    </a:cubicBezTo>
                    <a:cubicBezTo>
                      <a:pt x="182022" y="11956"/>
                      <a:pt x="180960" y="6573"/>
                      <a:pt x="183356" y="2381"/>
                    </a:cubicBezTo>
                    <a:cubicBezTo>
                      <a:pt x="184601" y="202"/>
                      <a:pt x="188119" y="794"/>
                      <a:pt x="190500" y="0"/>
                    </a:cubicBezTo>
                    <a:cubicBezTo>
                      <a:pt x="198505" y="24018"/>
                      <a:pt x="186289" y="-13243"/>
                      <a:pt x="195263" y="16669"/>
                    </a:cubicBezTo>
                    <a:cubicBezTo>
                      <a:pt x="196706" y="21477"/>
                      <a:pt x="198438" y="26194"/>
                      <a:pt x="200025" y="30956"/>
                    </a:cubicBezTo>
                    <a:cubicBezTo>
                      <a:pt x="203019" y="39940"/>
                      <a:pt x="203046" y="44896"/>
                      <a:pt x="216694" y="47625"/>
                    </a:cubicBezTo>
                    <a:lnTo>
                      <a:pt x="228600" y="50006"/>
                    </a:lnTo>
                    <a:lnTo>
                      <a:pt x="235744" y="54769"/>
                    </a:lnTo>
                  </a:path>
                </a:pathLst>
              </a:cu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9">
                  <a:solidFill>
                    <a:schemeClr val="accent1"/>
                  </a:solidFill>
                </a:endParaRPr>
              </a:p>
            </p:txBody>
          </p:sp>
          <p:sp>
            <p:nvSpPr>
              <p:cNvPr id="883" name="Freeform 862">
                <a:extLst>
                  <a:ext uri="{FF2B5EF4-FFF2-40B4-BE49-F238E27FC236}">
                    <a16:creationId xmlns:a16="http://schemas.microsoft.com/office/drawing/2014/main" id="{8B8AF599-150C-4EF8-B35C-626F29440D08}"/>
                  </a:ext>
                </a:extLst>
              </p:cNvPr>
              <p:cNvSpPr/>
              <p:nvPr/>
            </p:nvSpPr>
            <p:spPr bwMode="ltGray">
              <a:xfrm>
                <a:off x="6183766" y="4018450"/>
                <a:ext cx="230741" cy="197957"/>
              </a:xfrm>
              <a:custGeom>
                <a:avLst/>
                <a:gdLst>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29061 w 1920955"/>
                  <a:gd name="connsiteY34" fmla="*/ 688763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07095 w 1920955"/>
                  <a:gd name="connsiteY34" fmla="*/ 670892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68110 w 1920955"/>
                  <a:gd name="connsiteY34" fmla="*/ 637701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4774 w 1920955"/>
                  <a:gd name="connsiteY35" fmla="*/ 741151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07453 w 1920955"/>
                  <a:gd name="connsiteY35" fmla="*/ 746256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8599 w 1920955"/>
                  <a:gd name="connsiteY37" fmla="*/ 779251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90986 w 1920955"/>
                  <a:gd name="connsiteY38" fmla="*/ 817351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310036 w 1920955"/>
                  <a:gd name="connsiteY40" fmla="*/ 884026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314799 w 1920955"/>
                  <a:gd name="connsiteY39" fmla="*/ 86497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38611 w 1920955"/>
                  <a:gd name="connsiteY41" fmla="*/ 950701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48149 w 1920955"/>
                  <a:gd name="connsiteY42" fmla="*/ 1012613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81486 w 1920955"/>
                  <a:gd name="connsiteY43" fmla="*/ 1088813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19768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38636 w 1920955"/>
                  <a:gd name="connsiteY45" fmla="*/ 1217401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38624 w 1920955"/>
                  <a:gd name="connsiteY44" fmla="*/ 1150726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86261 w 1920955"/>
                  <a:gd name="connsiteY46" fmla="*/ 1255501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24864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7711 w 1920955"/>
                  <a:gd name="connsiteY49" fmla="*/ 1512676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57724 w 1920955"/>
                  <a:gd name="connsiteY51" fmla="*/ 1498388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2"/>
                  <a:gd name="connsiteX1" fmla="*/ 1567336 w 1920955"/>
                  <a:gd name="connsiteY1" fmla="*/ 369676 h 1660322"/>
                  <a:gd name="connsiteX2" fmla="*/ 1467324 w 1920955"/>
                  <a:gd name="connsiteY2" fmla="*/ 345863 h 1660322"/>
                  <a:gd name="connsiteX3" fmla="*/ 1419699 w 1920955"/>
                  <a:gd name="connsiteY3" fmla="*/ 317288 h 1660322"/>
                  <a:gd name="connsiteX4" fmla="*/ 1367311 w 1920955"/>
                  <a:gd name="connsiteY4" fmla="*/ 160126 h 1660322"/>
                  <a:gd name="connsiteX5" fmla="*/ 1338736 w 1920955"/>
                  <a:gd name="connsiteY5" fmla="*/ 12488 h 1660322"/>
                  <a:gd name="connsiteX6" fmla="*/ 1267299 w 1920955"/>
                  <a:gd name="connsiteY6" fmla="*/ 12488 h 1660322"/>
                  <a:gd name="connsiteX7" fmla="*/ 1214911 w 1920955"/>
                  <a:gd name="connsiteY7" fmla="*/ 50588 h 1660322"/>
                  <a:gd name="connsiteX8" fmla="*/ 1214911 w 1920955"/>
                  <a:gd name="connsiteY8" fmla="*/ 155363 h 1660322"/>
                  <a:gd name="connsiteX9" fmla="*/ 1186336 w 1920955"/>
                  <a:gd name="connsiteY9" fmla="*/ 183938 h 1660322"/>
                  <a:gd name="connsiteX10" fmla="*/ 1176811 w 1920955"/>
                  <a:gd name="connsiteY10" fmla="*/ 255376 h 1660322"/>
                  <a:gd name="connsiteX11" fmla="*/ 1114899 w 1920955"/>
                  <a:gd name="connsiteY11" fmla="*/ 298238 h 1660322"/>
                  <a:gd name="connsiteX12" fmla="*/ 1005361 w 1920955"/>
                  <a:gd name="connsiteY12" fmla="*/ 312526 h 1660322"/>
                  <a:gd name="connsiteX13" fmla="*/ 962499 w 1920955"/>
                  <a:gd name="connsiteY13" fmla="*/ 355388 h 1660322"/>
                  <a:gd name="connsiteX14" fmla="*/ 838674 w 1920955"/>
                  <a:gd name="connsiteY14" fmla="*/ 355388 h 1660322"/>
                  <a:gd name="connsiteX15" fmla="*/ 781524 w 1920955"/>
                  <a:gd name="connsiteY15" fmla="*/ 426826 h 1660322"/>
                  <a:gd name="connsiteX16" fmla="*/ 781524 w 1920955"/>
                  <a:gd name="connsiteY16" fmla="*/ 460163 h 1660322"/>
                  <a:gd name="connsiteX17" fmla="*/ 743424 w 1920955"/>
                  <a:gd name="connsiteY17" fmla="*/ 483976 h 1660322"/>
                  <a:gd name="connsiteX18" fmla="*/ 671986 w 1920955"/>
                  <a:gd name="connsiteY18" fmla="*/ 417301 h 1660322"/>
                  <a:gd name="connsiteX19" fmla="*/ 519586 w 1920955"/>
                  <a:gd name="connsiteY19" fmla="*/ 412538 h 1660322"/>
                  <a:gd name="connsiteX20" fmla="*/ 457674 w 1920955"/>
                  <a:gd name="connsiteY20" fmla="*/ 431588 h 1660322"/>
                  <a:gd name="connsiteX21" fmla="*/ 419574 w 1920955"/>
                  <a:gd name="connsiteY21" fmla="*/ 417301 h 1660322"/>
                  <a:gd name="connsiteX22" fmla="*/ 400524 w 1920955"/>
                  <a:gd name="connsiteY22" fmla="*/ 355388 h 1660322"/>
                  <a:gd name="connsiteX23" fmla="*/ 333849 w 1920955"/>
                  <a:gd name="connsiteY23" fmla="*/ 303001 h 1660322"/>
                  <a:gd name="connsiteX24" fmla="*/ 286224 w 1920955"/>
                  <a:gd name="connsiteY24" fmla="*/ 236326 h 1660322"/>
                  <a:gd name="connsiteX25" fmla="*/ 143349 w 1920955"/>
                  <a:gd name="connsiteY25" fmla="*/ 255376 h 1660322"/>
                  <a:gd name="connsiteX26" fmla="*/ 124299 w 1920955"/>
                  <a:gd name="connsiteY26" fmla="*/ 331576 h 1660322"/>
                  <a:gd name="connsiteX27" fmla="*/ 110011 w 1920955"/>
                  <a:gd name="connsiteY27" fmla="*/ 364913 h 1660322"/>
                  <a:gd name="connsiteX28" fmla="*/ 133824 w 1920955"/>
                  <a:gd name="connsiteY28" fmla="*/ 412538 h 1660322"/>
                  <a:gd name="connsiteX29" fmla="*/ 81436 w 1920955"/>
                  <a:gd name="connsiteY29" fmla="*/ 450638 h 1660322"/>
                  <a:gd name="connsiteX30" fmla="*/ 33811 w 1920955"/>
                  <a:gd name="connsiteY30" fmla="*/ 445876 h 1660322"/>
                  <a:gd name="connsiteX31" fmla="*/ 33811 w 1920955"/>
                  <a:gd name="connsiteY31" fmla="*/ 517313 h 1660322"/>
                  <a:gd name="connsiteX32" fmla="*/ 474 w 1920955"/>
                  <a:gd name="connsiteY32" fmla="*/ 622088 h 1660322"/>
                  <a:gd name="connsiteX33" fmla="*/ 62386 w 1920955"/>
                  <a:gd name="connsiteY33" fmla="*/ 698288 h 1660322"/>
                  <a:gd name="connsiteX34" fmla="*/ 111977 w 1920955"/>
                  <a:gd name="connsiteY34" fmla="*/ 678550 h 1660322"/>
                  <a:gd name="connsiteX35" fmla="*/ 112334 w 1920955"/>
                  <a:gd name="connsiteY35" fmla="*/ 748809 h 1660322"/>
                  <a:gd name="connsiteX36" fmla="*/ 167161 w 1920955"/>
                  <a:gd name="connsiteY36" fmla="*/ 779251 h 1660322"/>
                  <a:gd name="connsiteX37" fmla="*/ 236159 w 1920955"/>
                  <a:gd name="connsiteY37" fmla="*/ 789463 h 1660322"/>
                  <a:gd name="connsiteX38" fmla="*/ 271462 w 1920955"/>
                  <a:gd name="connsiteY38" fmla="*/ 845434 h 1660322"/>
                  <a:gd name="connsiteX39" fmla="*/ 270869 w 1920955"/>
                  <a:gd name="connsiteY39" fmla="*/ 890506 h 1660322"/>
                  <a:gd name="connsiteX40" fmla="*/ 295393 w 1920955"/>
                  <a:gd name="connsiteY40" fmla="*/ 929981 h 1660322"/>
                  <a:gd name="connsiteX41" fmla="*/ 341051 w 1920955"/>
                  <a:gd name="connsiteY41" fmla="*/ 968573 h 1660322"/>
                  <a:gd name="connsiteX42" fmla="*/ 426184 w 1920955"/>
                  <a:gd name="connsiteY42" fmla="*/ 1022825 h 1660322"/>
                  <a:gd name="connsiteX43" fmla="*/ 461961 w 1920955"/>
                  <a:gd name="connsiteY43" fmla="*/ 1093918 h 1660322"/>
                  <a:gd name="connsiteX44" fmla="*/ 441064 w 1920955"/>
                  <a:gd name="connsiteY44" fmla="*/ 1163491 h 1660322"/>
                  <a:gd name="connsiteX45" fmla="*/ 519111 w 1920955"/>
                  <a:gd name="connsiteY45" fmla="*/ 1219954 h 1660322"/>
                  <a:gd name="connsiteX46" fmla="*/ 591143 w 1920955"/>
                  <a:gd name="connsiteY46" fmla="*/ 1252948 h 1660322"/>
                  <a:gd name="connsiteX47" fmla="*/ 571974 w 1920955"/>
                  <a:gd name="connsiteY47" fmla="*/ 1312651 h 1660322"/>
                  <a:gd name="connsiteX48" fmla="*/ 662461 w 1920955"/>
                  <a:gd name="connsiteY48" fmla="*/ 1465051 h 1660322"/>
                  <a:gd name="connsiteX49" fmla="*/ 755271 w 1920955"/>
                  <a:gd name="connsiteY49" fmla="*/ 1538205 h 1660322"/>
                  <a:gd name="connsiteX50" fmla="*/ 805336 w 1920955"/>
                  <a:gd name="connsiteY50" fmla="*/ 1488863 h 1660322"/>
                  <a:gd name="connsiteX51" fmla="*/ 869926 w 1920955"/>
                  <a:gd name="connsiteY51" fmla="*/ 1516260 h 1660322"/>
                  <a:gd name="connsiteX52" fmla="*/ 924399 w 1920955"/>
                  <a:gd name="connsiteY52" fmla="*/ 1484101 h 1660322"/>
                  <a:gd name="connsiteX53" fmla="*/ 933924 w 1920955"/>
                  <a:gd name="connsiteY53" fmla="*/ 1431713 h 1660322"/>
                  <a:gd name="connsiteX54" fmla="*/ 1014886 w 1920955"/>
                  <a:gd name="connsiteY54" fmla="*/ 1507913 h 1660322"/>
                  <a:gd name="connsiteX55" fmla="*/ 1067274 w 1920955"/>
                  <a:gd name="connsiteY55" fmla="*/ 1584113 h 1660322"/>
                  <a:gd name="connsiteX56" fmla="*/ 1100611 w 1920955"/>
                  <a:gd name="connsiteY56" fmla="*/ 1660313 h 1660322"/>
                  <a:gd name="connsiteX57" fmla="*/ 1133949 w 1920955"/>
                  <a:gd name="connsiteY57" fmla="*/ 1579351 h 1660322"/>
                  <a:gd name="connsiteX58" fmla="*/ 1176811 w 1920955"/>
                  <a:gd name="connsiteY58" fmla="*/ 1598401 h 1660322"/>
                  <a:gd name="connsiteX59" fmla="*/ 1210149 w 1920955"/>
                  <a:gd name="connsiteY59" fmla="*/ 1617451 h 1660322"/>
                  <a:gd name="connsiteX60" fmla="*/ 1233961 w 1920955"/>
                  <a:gd name="connsiteY60" fmla="*/ 1579351 h 1660322"/>
                  <a:gd name="connsiteX61" fmla="*/ 1267299 w 1920955"/>
                  <a:gd name="connsiteY61" fmla="*/ 1655551 h 1660322"/>
                  <a:gd name="connsiteX62" fmla="*/ 1348261 w 1920955"/>
                  <a:gd name="connsiteY62" fmla="*/ 1626976 h 1660322"/>
                  <a:gd name="connsiteX63" fmla="*/ 1414936 w 1920955"/>
                  <a:gd name="connsiteY63" fmla="*/ 1555538 h 1660322"/>
                  <a:gd name="connsiteX64" fmla="*/ 1433986 w 1920955"/>
                  <a:gd name="connsiteY64" fmla="*/ 1607926 h 1660322"/>
                  <a:gd name="connsiteX65" fmla="*/ 1410174 w 1920955"/>
                  <a:gd name="connsiteY65" fmla="*/ 1612688 h 1660322"/>
                  <a:gd name="connsiteX66" fmla="*/ 1543524 w 1920955"/>
                  <a:gd name="connsiteY66" fmla="*/ 1579351 h 1660322"/>
                  <a:gd name="connsiteX67" fmla="*/ 1581624 w 1920955"/>
                  <a:gd name="connsiteY67" fmla="*/ 1507913 h 1660322"/>
                  <a:gd name="connsiteX68" fmla="*/ 1643536 w 1920955"/>
                  <a:gd name="connsiteY68" fmla="*/ 1412663 h 1660322"/>
                  <a:gd name="connsiteX69" fmla="*/ 1714974 w 1920955"/>
                  <a:gd name="connsiteY69" fmla="*/ 1384088 h 1660322"/>
                  <a:gd name="connsiteX70" fmla="*/ 1772124 w 1920955"/>
                  <a:gd name="connsiteY70" fmla="*/ 1379326 h 1660322"/>
                  <a:gd name="connsiteX71" fmla="*/ 1772124 w 1920955"/>
                  <a:gd name="connsiteY71" fmla="*/ 1450763 h 1660322"/>
                  <a:gd name="connsiteX72" fmla="*/ 1886424 w 1920955"/>
                  <a:gd name="connsiteY72" fmla="*/ 1446001 h 1660322"/>
                  <a:gd name="connsiteX73" fmla="*/ 1919761 w 1920955"/>
                  <a:gd name="connsiteY73" fmla="*/ 1441238 h 1660322"/>
                  <a:gd name="connsiteX74" fmla="*/ 1853086 w 1920955"/>
                  <a:gd name="connsiteY74" fmla="*/ 1398376 h 1660322"/>
                  <a:gd name="connsiteX75" fmla="*/ 1853086 w 1920955"/>
                  <a:gd name="connsiteY75" fmla="*/ 1303126 h 1660322"/>
                  <a:gd name="connsiteX76" fmla="*/ 1853086 w 1920955"/>
                  <a:gd name="connsiteY76" fmla="*/ 1245976 h 1660322"/>
                  <a:gd name="connsiteX77" fmla="*/ 1810224 w 1920955"/>
                  <a:gd name="connsiteY77" fmla="*/ 1236451 h 1660322"/>
                  <a:gd name="connsiteX78" fmla="*/ 1734024 w 1920955"/>
                  <a:gd name="connsiteY78" fmla="*/ 1155488 h 1660322"/>
                  <a:gd name="connsiteX79" fmla="*/ 1695924 w 1920955"/>
                  <a:gd name="connsiteY79" fmla="*/ 974513 h 1660322"/>
                  <a:gd name="connsiteX80" fmla="*/ 1643536 w 1920955"/>
                  <a:gd name="connsiteY80" fmla="*/ 941176 h 1660322"/>
                  <a:gd name="connsiteX81" fmla="*/ 1605436 w 1920955"/>
                  <a:gd name="connsiteY81" fmla="*/ 884026 h 1660322"/>
                  <a:gd name="connsiteX82" fmla="*/ 1557811 w 1920955"/>
                  <a:gd name="connsiteY82" fmla="*/ 836401 h 1660322"/>
                  <a:gd name="connsiteX83" fmla="*/ 1505424 w 1920955"/>
                  <a:gd name="connsiteY83" fmla="*/ 817351 h 1660322"/>
                  <a:gd name="connsiteX84" fmla="*/ 1453036 w 1920955"/>
                  <a:gd name="connsiteY84" fmla="*/ 812588 h 1660322"/>
                  <a:gd name="connsiteX85" fmla="*/ 1510186 w 1920955"/>
                  <a:gd name="connsiteY85" fmla="*/ 779251 h 1660322"/>
                  <a:gd name="connsiteX86" fmla="*/ 1476849 w 1920955"/>
                  <a:gd name="connsiteY86" fmla="*/ 745913 h 1660322"/>
                  <a:gd name="connsiteX87" fmla="*/ 1481611 w 1920955"/>
                  <a:gd name="connsiteY87" fmla="*/ 722101 h 1660322"/>
                  <a:gd name="connsiteX88" fmla="*/ 1572099 w 1920955"/>
                  <a:gd name="connsiteY88" fmla="*/ 760201 h 1660322"/>
                  <a:gd name="connsiteX89" fmla="*/ 1624486 w 1920955"/>
                  <a:gd name="connsiteY89" fmla="*/ 693526 h 1660322"/>
                  <a:gd name="connsiteX90" fmla="*/ 1614961 w 1920955"/>
                  <a:gd name="connsiteY90" fmla="*/ 550651 h 1660322"/>
                  <a:gd name="connsiteX91" fmla="*/ 1610199 w 1920955"/>
                  <a:gd name="connsiteY91" fmla="*/ 412538 h 1660322"/>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33924 w 1920955"/>
                  <a:gd name="connsiteY53" fmla="*/ 1431713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29042 w 1920955"/>
                  <a:gd name="connsiteY53" fmla="*/ 1367886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321"/>
                  <a:gd name="connsiteX1" fmla="*/ 1567336 w 1920955"/>
                  <a:gd name="connsiteY1" fmla="*/ 369676 h 1660321"/>
                  <a:gd name="connsiteX2" fmla="*/ 1467324 w 1920955"/>
                  <a:gd name="connsiteY2" fmla="*/ 345863 h 1660321"/>
                  <a:gd name="connsiteX3" fmla="*/ 1419699 w 1920955"/>
                  <a:gd name="connsiteY3" fmla="*/ 317288 h 1660321"/>
                  <a:gd name="connsiteX4" fmla="*/ 1367311 w 1920955"/>
                  <a:gd name="connsiteY4" fmla="*/ 160126 h 1660321"/>
                  <a:gd name="connsiteX5" fmla="*/ 1338736 w 1920955"/>
                  <a:gd name="connsiteY5" fmla="*/ 12488 h 1660321"/>
                  <a:gd name="connsiteX6" fmla="*/ 1267299 w 1920955"/>
                  <a:gd name="connsiteY6" fmla="*/ 12488 h 1660321"/>
                  <a:gd name="connsiteX7" fmla="*/ 1214911 w 1920955"/>
                  <a:gd name="connsiteY7" fmla="*/ 50588 h 1660321"/>
                  <a:gd name="connsiteX8" fmla="*/ 1214911 w 1920955"/>
                  <a:gd name="connsiteY8" fmla="*/ 155363 h 1660321"/>
                  <a:gd name="connsiteX9" fmla="*/ 1186336 w 1920955"/>
                  <a:gd name="connsiteY9" fmla="*/ 183938 h 1660321"/>
                  <a:gd name="connsiteX10" fmla="*/ 1176811 w 1920955"/>
                  <a:gd name="connsiteY10" fmla="*/ 255376 h 1660321"/>
                  <a:gd name="connsiteX11" fmla="*/ 1114899 w 1920955"/>
                  <a:gd name="connsiteY11" fmla="*/ 298238 h 1660321"/>
                  <a:gd name="connsiteX12" fmla="*/ 1005361 w 1920955"/>
                  <a:gd name="connsiteY12" fmla="*/ 312526 h 1660321"/>
                  <a:gd name="connsiteX13" fmla="*/ 962499 w 1920955"/>
                  <a:gd name="connsiteY13" fmla="*/ 355388 h 1660321"/>
                  <a:gd name="connsiteX14" fmla="*/ 838674 w 1920955"/>
                  <a:gd name="connsiteY14" fmla="*/ 355388 h 1660321"/>
                  <a:gd name="connsiteX15" fmla="*/ 781524 w 1920955"/>
                  <a:gd name="connsiteY15" fmla="*/ 426826 h 1660321"/>
                  <a:gd name="connsiteX16" fmla="*/ 781524 w 1920955"/>
                  <a:gd name="connsiteY16" fmla="*/ 460163 h 1660321"/>
                  <a:gd name="connsiteX17" fmla="*/ 743424 w 1920955"/>
                  <a:gd name="connsiteY17" fmla="*/ 483976 h 1660321"/>
                  <a:gd name="connsiteX18" fmla="*/ 671986 w 1920955"/>
                  <a:gd name="connsiteY18" fmla="*/ 417301 h 1660321"/>
                  <a:gd name="connsiteX19" fmla="*/ 519586 w 1920955"/>
                  <a:gd name="connsiteY19" fmla="*/ 412538 h 1660321"/>
                  <a:gd name="connsiteX20" fmla="*/ 457674 w 1920955"/>
                  <a:gd name="connsiteY20" fmla="*/ 431588 h 1660321"/>
                  <a:gd name="connsiteX21" fmla="*/ 419574 w 1920955"/>
                  <a:gd name="connsiteY21" fmla="*/ 417301 h 1660321"/>
                  <a:gd name="connsiteX22" fmla="*/ 400524 w 1920955"/>
                  <a:gd name="connsiteY22" fmla="*/ 355388 h 1660321"/>
                  <a:gd name="connsiteX23" fmla="*/ 333849 w 1920955"/>
                  <a:gd name="connsiteY23" fmla="*/ 303001 h 1660321"/>
                  <a:gd name="connsiteX24" fmla="*/ 286224 w 1920955"/>
                  <a:gd name="connsiteY24" fmla="*/ 236326 h 1660321"/>
                  <a:gd name="connsiteX25" fmla="*/ 143349 w 1920955"/>
                  <a:gd name="connsiteY25" fmla="*/ 255376 h 1660321"/>
                  <a:gd name="connsiteX26" fmla="*/ 124299 w 1920955"/>
                  <a:gd name="connsiteY26" fmla="*/ 331576 h 1660321"/>
                  <a:gd name="connsiteX27" fmla="*/ 110011 w 1920955"/>
                  <a:gd name="connsiteY27" fmla="*/ 364913 h 1660321"/>
                  <a:gd name="connsiteX28" fmla="*/ 133824 w 1920955"/>
                  <a:gd name="connsiteY28" fmla="*/ 412538 h 1660321"/>
                  <a:gd name="connsiteX29" fmla="*/ 81436 w 1920955"/>
                  <a:gd name="connsiteY29" fmla="*/ 450638 h 1660321"/>
                  <a:gd name="connsiteX30" fmla="*/ 33811 w 1920955"/>
                  <a:gd name="connsiteY30" fmla="*/ 445876 h 1660321"/>
                  <a:gd name="connsiteX31" fmla="*/ 33811 w 1920955"/>
                  <a:gd name="connsiteY31" fmla="*/ 517313 h 1660321"/>
                  <a:gd name="connsiteX32" fmla="*/ 474 w 1920955"/>
                  <a:gd name="connsiteY32" fmla="*/ 622088 h 1660321"/>
                  <a:gd name="connsiteX33" fmla="*/ 62386 w 1920955"/>
                  <a:gd name="connsiteY33" fmla="*/ 698288 h 1660321"/>
                  <a:gd name="connsiteX34" fmla="*/ 111977 w 1920955"/>
                  <a:gd name="connsiteY34" fmla="*/ 678550 h 1660321"/>
                  <a:gd name="connsiteX35" fmla="*/ 112334 w 1920955"/>
                  <a:gd name="connsiteY35" fmla="*/ 748809 h 1660321"/>
                  <a:gd name="connsiteX36" fmla="*/ 167161 w 1920955"/>
                  <a:gd name="connsiteY36" fmla="*/ 779251 h 1660321"/>
                  <a:gd name="connsiteX37" fmla="*/ 236159 w 1920955"/>
                  <a:gd name="connsiteY37" fmla="*/ 789463 h 1660321"/>
                  <a:gd name="connsiteX38" fmla="*/ 271462 w 1920955"/>
                  <a:gd name="connsiteY38" fmla="*/ 845434 h 1660321"/>
                  <a:gd name="connsiteX39" fmla="*/ 270869 w 1920955"/>
                  <a:gd name="connsiteY39" fmla="*/ 890506 h 1660321"/>
                  <a:gd name="connsiteX40" fmla="*/ 295393 w 1920955"/>
                  <a:gd name="connsiteY40" fmla="*/ 929981 h 1660321"/>
                  <a:gd name="connsiteX41" fmla="*/ 341051 w 1920955"/>
                  <a:gd name="connsiteY41" fmla="*/ 968573 h 1660321"/>
                  <a:gd name="connsiteX42" fmla="*/ 426184 w 1920955"/>
                  <a:gd name="connsiteY42" fmla="*/ 1022825 h 1660321"/>
                  <a:gd name="connsiteX43" fmla="*/ 461961 w 1920955"/>
                  <a:gd name="connsiteY43" fmla="*/ 1093918 h 1660321"/>
                  <a:gd name="connsiteX44" fmla="*/ 441064 w 1920955"/>
                  <a:gd name="connsiteY44" fmla="*/ 1163491 h 1660321"/>
                  <a:gd name="connsiteX45" fmla="*/ 519111 w 1920955"/>
                  <a:gd name="connsiteY45" fmla="*/ 1219954 h 1660321"/>
                  <a:gd name="connsiteX46" fmla="*/ 591143 w 1920955"/>
                  <a:gd name="connsiteY46" fmla="*/ 1252948 h 1660321"/>
                  <a:gd name="connsiteX47" fmla="*/ 571974 w 1920955"/>
                  <a:gd name="connsiteY47" fmla="*/ 1312651 h 1660321"/>
                  <a:gd name="connsiteX48" fmla="*/ 662461 w 1920955"/>
                  <a:gd name="connsiteY48" fmla="*/ 1465051 h 1660321"/>
                  <a:gd name="connsiteX49" fmla="*/ 755271 w 1920955"/>
                  <a:gd name="connsiteY49" fmla="*/ 1538205 h 1660321"/>
                  <a:gd name="connsiteX50" fmla="*/ 805336 w 1920955"/>
                  <a:gd name="connsiteY50" fmla="*/ 1488863 h 1660321"/>
                  <a:gd name="connsiteX51" fmla="*/ 869926 w 1920955"/>
                  <a:gd name="connsiteY51" fmla="*/ 1516260 h 1660321"/>
                  <a:gd name="connsiteX52" fmla="*/ 924399 w 1920955"/>
                  <a:gd name="connsiteY52" fmla="*/ 1484101 h 1660321"/>
                  <a:gd name="connsiteX53" fmla="*/ 941246 w 1920955"/>
                  <a:gd name="connsiteY53" fmla="*/ 1441925 h 1660321"/>
                  <a:gd name="connsiteX54" fmla="*/ 1005123 w 1920955"/>
                  <a:gd name="connsiteY54" fmla="*/ 1528337 h 1660321"/>
                  <a:gd name="connsiteX55" fmla="*/ 1067274 w 1920955"/>
                  <a:gd name="connsiteY55" fmla="*/ 1584113 h 1660321"/>
                  <a:gd name="connsiteX56" fmla="*/ 1100611 w 1920955"/>
                  <a:gd name="connsiteY56" fmla="*/ 1660313 h 1660321"/>
                  <a:gd name="connsiteX57" fmla="*/ 1133949 w 1920955"/>
                  <a:gd name="connsiteY57" fmla="*/ 1579351 h 1660321"/>
                  <a:gd name="connsiteX58" fmla="*/ 1176811 w 1920955"/>
                  <a:gd name="connsiteY58" fmla="*/ 1598401 h 1660321"/>
                  <a:gd name="connsiteX59" fmla="*/ 1210149 w 1920955"/>
                  <a:gd name="connsiteY59" fmla="*/ 1617451 h 1660321"/>
                  <a:gd name="connsiteX60" fmla="*/ 1233961 w 1920955"/>
                  <a:gd name="connsiteY60" fmla="*/ 1579351 h 1660321"/>
                  <a:gd name="connsiteX61" fmla="*/ 1267299 w 1920955"/>
                  <a:gd name="connsiteY61" fmla="*/ 1655551 h 1660321"/>
                  <a:gd name="connsiteX62" fmla="*/ 1348261 w 1920955"/>
                  <a:gd name="connsiteY62" fmla="*/ 1626976 h 1660321"/>
                  <a:gd name="connsiteX63" fmla="*/ 1414936 w 1920955"/>
                  <a:gd name="connsiteY63" fmla="*/ 1555538 h 1660321"/>
                  <a:gd name="connsiteX64" fmla="*/ 1433986 w 1920955"/>
                  <a:gd name="connsiteY64" fmla="*/ 1607926 h 1660321"/>
                  <a:gd name="connsiteX65" fmla="*/ 1410174 w 1920955"/>
                  <a:gd name="connsiteY65" fmla="*/ 1612688 h 1660321"/>
                  <a:gd name="connsiteX66" fmla="*/ 1543524 w 1920955"/>
                  <a:gd name="connsiteY66" fmla="*/ 1579351 h 1660321"/>
                  <a:gd name="connsiteX67" fmla="*/ 1581624 w 1920955"/>
                  <a:gd name="connsiteY67" fmla="*/ 1507913 h 1660321"/>
                  <a:gd name="connsiteX68" fmla="*/ 1643536 w 1920955"/>
                  <a:gd name="connsiteY68" fmla="*/ 1412663 h 1660321"/>
                  <a:gd name="connsiteX69" fmla="*/ 1714974 w 1920955"/>
                  <a:gd name="connsiteY69" fmla="*/ 1384088 h 1660321"/>
                  <a:gd name="connsiteX70" fmla="*/ 1772124 w 1920955"/>
                  <a:gd name="connsiteY70" fmla="*/ 1379326 h 1660321"/>
                  <a:gd name="connsiteX71" fmla="*/ 1772124 w 1920955"/>
                  <a:gd name="connsiteY71" fmla="*/ 1450763 h 1660321"/>
                  <a:gd name="connsiteX72" fmla="*/ 1886424 w 1920955"/>
                  <a:gd name="connsiteY72" fmla="*/ 1446001 h 1660321"/>
                  <a:gd name="connsiteX73" fmla="*/ 1919761 w 1920955"/>
                  <a:gd name="connsiteY73" fmla="*/ 1441238 h 1660321"/>
                  <a:gd name="connsiteX74" fmla="*/ 1853086 w 1920955"/>
                  <a:gd name="connsiteY74" fmla="*/ 1398376 h 1660321"/>
                  <a:gd name="connsiteX75" fmla="*/ 1853086 w 1920955"/>
                  <a:gd name="connsiteY75" fmla="*/ 1303126 h 1660321"/>
                  <a:gd name="connsiteX76" fmla="*/ 1853086 w 1920955"/>
                  <a:gd name="connsiteY76" fmla="*/ 1245976 h 1660321"/>
                  <a:gd name="connsiteX77" fmla="*/ 1810224 w 1920955"/>
                  <a:gd name="connsiteY77" fmla="*/ 1236451 h 1660321"/>
                  <a:gd name="connsiteX78" fmla="*/ 1734024 w 1920955"/>
                  <a:gd name="connsiteY78" fmla="*/ 1155488 h 1660321"/>
                  <a:gd name="connsiteX79" fmla="*/ 1695924 w 1920955"/>
                  <a:gd name="connsiteY79" fmla="*/ 974513 h 1660321"/>
                  <a:gd name="connsiteX80" fmla="*/ 1643536 w 1920955"/>
                  <a:gd name="connsiteY80" fmla="*/ 941176 h 1660321"/>
                  <a:gd name="connsiteX81" fmla="*/ 1605436 w 1920955"/>
                  <a:gd name="connsiteY81" fmla="*/ 884026 h 1660321"/>
                  <a:gd name="connsiteX82" fmla="*/ 1557811 w 1920955"/>
                  <a:gd name="connsiteY82" fmla="*/ 836401 h 1660321"/>
                  <a:gd name="connsiteX83" fmla="*/ 1505424 w 1920955"/>
                  <a:gd name="connsiteY83" fmla="*/ 817351 h 1660321"/>
                  <a:gd name="connsiteX84" fmla="*/ 1453036 w 1920955"/>
                  <a:gd name="connsiteY84" fmla="*/ 812588 h 1660321"/>
                  <a:gd name="connsiteX85" fmla="*/ 1510186 w 1920955"/>
                  <a:gd name="connsiteY85" fmla="*/ 779251 h 1660321"/>
                  <a:gd name="connsiteX86" fmla="*/ 1476849 w 1920955"/>
                  <a:gd name="connsiteY86" fmla="*/ 745913 h 1660321"/>
                  <a:gd name="connsiteX87" fmla="*/ 1481611 w 1920955"/>
                  <a:gd name="connsiteY87" fmla="*/ 722101 h 1660321"/>
                  <a:gd name="connsiteX88" fmla="*/ 1572099 w 1920955"/>
                  <a:gd name="connsiteY88" fmla="*/ 760201 h 1660321"/>
                  <a:gd name="connsiteX89" fmla="*/ 1624486 w 1920955"/>
                  <a:gd name="connsiteY89" fmla="*/ 693526 h 1660321"/>
                  <a:gd name="connsiteX90" fmla="*/ 1614961 w 1920955"/>
                  <a:gd name="connsiteY90" fmla="*/ 550651 h 1660321"/>
                  <a:gd name="connsiteX91" fmla="*/ 1610199 w 1920955"/>
                  <a:gd name="connsiteY91" fmla="*/ 412538 h 1660321"/>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60500"/>
                  <a:gd name="connsiteX1" fmla="*/ 1567336 w 1920955"/>
                  <a:gd name="connsiteY1" fmla="*/ 369676 h 1660500"/>
                  <a:gd name="connsiteX2" fmla="*/ 1467324 w 1920955"/>
                  <a:gd name="connsiteY2" fmla="*/ 345863 h 1660500"/>
                  <a:gd name="connsiteX3" fmla="*/ 1419699 w 1920955"/>
                  <a:gd name="connsiteY3" fmla="*/ 317288 h 1660500"/>
                  <a:gd name="connsiteX4" fmla="*/ 1367311 w 1920955"/>
                  <a:gd name="connsiteY4" fmla="*/ 160126 h 1660500"/>
                  <a:gd name="connsiteX5" fmla="*/ 1338736 w 1920955"/>
                  <a:gd name="connsiteY5" fmla="*/ 12488 h 1660500"/>
                  <a:gd name="connsiteX6" fmla="*/ 1267299 w 1920955"/>
                  <a:gd name="connsiteY6" fmla="*/ 12488 h 1660500"/>
                  <a:gd name="connsiteX7" fmla="*/ 1214911 w 1920955"/>
                  <a:gd name="connsiteY7" fmla="*/ 50588 h 1660500"/>
                  <a:gd name="connsiteX8" fmla="*/ 1214911 w 1920955"/>
                  <a:gd name="connsiteY8" fmla="*/ 155363 h 1660500"/>
                  <a:gd name="connsiteX9" fmla="*/ 1186336 w 1920955"/>
                  <a:gd name="connsiteY9" fmla="*/ 183938 h 1660500"/>
                  <a:gd name="connsiteX10" fmla="*/ 1176811 w 1920955"/>
                  <a:gd name="connsiteY10" fmla="*/ 255376 h 1660500"/>
                  <a:gd name="connsiteX11" fmla="*/ 1114899 w 1920955"/>
                  <a:gd name="connsiteY11" fmla="*/ 298238 h 1660500"/>
                  <a:gd name="connsiteX12" fmla="*/ 1005361 w 1920955"/>
                  <a:gd name="connsiteY12" fmla="*/ 312526 h 1660500"/>
                  <a:gd name="connsiteX13" fmla="*/ 962499 w 1920955"/>
                  <a:gd name="connsiteY13" fmla="*/ 355388 h 1660500"/>
                  <a:gd name="connsiteX14" fmla="*/ 838674 w 1920955"/>
                  <a:gd name="connsiteY14" fmla="*/ 355388 h 1660500"/>
                  <a:gd name="connsiteX15" fmla="*/ 781524 w 1920955"/>
                  <a:gd name="connsiteY15" fmla="*/ 426826 h 1660500"/>
                  <a:gd name="connsiteX16" fmla="*/ 781524 w 1920955"/>
                  <a:gd name="connsiteY16" fmla="*/ 460163 h 1660500"/>
                  <a:gd name="connsiteX17" fmla="*/ 743424 w 1920955"/>
                  <a:gd name="connsiteY17" fmla="*/ 483976 h 1660500"/>
                  <a:gd name="connsiteX18" fmla="*/ 671986 w 1920955"/>
                  <a:gd name="connsiteY18" fmla="*/ 417301 h 1660500"/>
                  <a:gd name="connsiteX19" fmla="*/ 519586 w 1920955"/>
                  <a:gd name="connsiteY19" fmla="*/ 412538 h 1660500"/>
                  <a:gd name="connsiteX20" fmla="*/ 457674 w 1920955"/>
                  <a:gd name="connsiteY20" fmla="*/ 431588 h 1660500"/>
                  <a:gd name="connsiteX21" fmla="*/ 419574 w 1920955"/>
                  <a:gd name="connsiteY21" fmla="*/ 417301 h 1660500"/>
                  <a:gd name="connsiteX22" fmla="*/ 400524 w 1920955"/>
                  <a:gd name="connsiteY22" fmla="*/ 355388 h 1660500"/>
                  <a:gd name="connsiteX23" fmla="*/ 333849 w 1920955"/>
                  <a:gd name="connsiteY23" fmla="*/ 303001 h 1660500"/>
                  <a:gd name="connsiteX24" fmla="*/ 286224 w 1920955"/>
                  <a:gd name="connsiteY24" fmla="*/ 236326 h 1660500"/>
                  <a:gd name="connsiteX25" fmla="*/ 143349 w 1920955"/>
                  <a:gd name="connsiteY25" fmla="*/ 255376 h 1660500"/>
                  <a:gd name="connsiteX26" fmla="*/ 124299 w 1920955"/>
                  <a:gd name="connsiteY26" fmla="*/ 331576 h 1660500"/>
                  <a:gd name="connsiteX27" fmla="*/ 110011 w 1920955"/>
                  <a:gd name="connsiteY27" fmla="*/ 364913 h 1660500"/>
                  <a:gd name="connsiteX28" fmla="*/ 133824 w 1920955"/>
                  <a:gd name="connsiteY28" fmla="*/ 412538 h 1660500"/>
                  <a:gd name="connsiteX29" fmla="*/ 81436 w 1920955"/>
                  <a:gd name="connsiteY29" fmla="*/ 450638 h 1660500"/>
                  <a:gd name="connsiteX30" fmla="*/ 33811 w 1920955"/>
                  <a:gd name="connsiteY30" fmla="*/ 445876 h 1660500"/>
                  <a:gd name="connsiteX31" fmla="*/ 33811 w 1920955"/>
                  <a:gd name="connsiteY31" fmla="*/ 517313 h 1660500"/>
                  <a:gd name="connsiteX32" fmla="*/ 474 w 1920955"/>
                  <a:gd name="connsiteY32" fmla="*/ 622088 h 1660500"/>
                  <a:gd name="connsiteX33" fmla="*/ 62386 w 1920955"/>
                  <a:gd name="connsiteY33" fmla="*/ 698288 h 1660500"/>
                  <a:gd name="connsiteX34" fmla="*/ 111977 w 1920955"/>
                  <a:gd name="connsiteY34" fmla="*/ 678550 h 1660500"/>
                  <a:gd name="connsiteX35" fmla="*/ 112334 w 1920955"/>
                  <a:gd name="connsiteY35" fmla="*/ 748809 h 1660500"/>
                  <a:gd name="connsiteX36" fmla="*/ 167161 w 1920955"/>
                  <a:gd name="connsiteY36" fmla="*/ 779251 h 1660500"/>
                  <a:gd name="connsiteX37" fmla="*/ 236159 w 1920955"/>
                  <a:gd name="connsiteY37" fmla="*/ 789463 h 1660500"/>
                  <a:gd name="connsiteX38" fmla="*/ 271462 w 1920955"/>
                  <a:gd name="connsiteY38" fmla="*/ 845434 h 1660500"/>
                  <a:gd name="connsiteX39" fmla="*/ 270869 w 1920955"/>
                  <a:gd name="connsiteY39" fmla="*/ 890506 h 1660500"/>
                  <a:gd name="connsiteX40" fmla="*/ 295393 w 1920955"/>
                  <a:gd name="connsiteY40" fmla="*/ 929981 h 1660500"/>
                  <a:gd name="connsiteX41" fmla="*/ 341051 w 1920955"/>
                  <a:gd name="connsiteY41" fmla="*/ 968573 h 1660500"/>
                  <a:gd name="connsiteX42" fmla="*/ 426184 w 1920955"/>
                  <a:gd name="connsiteY42" fmla="*/ 1022825 h 1660500"/>
                  <a:gd name="connsiteX43" fmla="*/ 461961 w 1920955"/>
                  <a:gd name="connsiteY43" fmla="*/ 1093918 h 1660500"/>
                  <a:gd name="connsiteX44" fmla="*/ 441064 w 1920955"/>
                  <a:gd name="connsiteY44" fmla="*/ 1163491 h 1660500"/>
                  <a:gd name="connsiteX45" fmla="*/ 519111 w 1920955"/>
                  <a:gd name="connsiteY45" fmla="*/ 1219954 h 1660500"/>
                  <a:gd name="connsiteX46" fmla="*/ 591143 w 1920955"/>
                  <a:gd name="connsiteY46" fmla="*/ 1252948 h 1660500"/>
                  <a:gd name="connsiteX47" fmla="*/ 571974 w 1920955"/>
                  <a:gd name="connsiteY47" fmla="*/ 1312651 h 1660500"/>
                  <a:gd name="connsiteX48" fmla="*/ 662461 w 1920955"/>
                  <a:gd name="connsiteY48" fmla="*/ 1465051 h 1660500"/>
                  <a:gd name="connsiteX49" fmla="*/ 755271 w 1920955"/>
                  <a:gd name="connsiteY49" fmla="*/ 1538205 h 1660500"/>
                  <a:gd name="connsiteX50" fmla="*/ 805336 w 1920955"/>
                  <a:gd name="connsiteY50" fmla="*/ 1488863 h 1660500"/>
                  <a:gd name="connsiteX51" fmla="*/ 869926 w 1920955"/>
                  <a:gd name="connsiteY51" fmla="*/ 1516260 h 1660500"/>
                  <a:gd name="connsiteX52" fmla="*/ 924399 w 1920955"/>
                  <a:gd name="connsiteY52" fmla="*/ 1484101 h 1660500"/>
                  <a:gd name="connsiteX53" fmla="*/ 941246 w 1920955"/>
                  <a:gd name="connsiteY53" fmla="*/ 1441925 h 1660500"/>
                  <a:gd name="connsiteX54" fmla="*/ 1005123 w 1920955"/>
                  <a:gd name="connsiteY54" fmla="*/ 1528337 h 1660500"/>
                  <a:gd name="connsiteX55" fmla="*/ 1050190 w 1920955"/>
                  <a:gd name="connsiteY55" fmla="*/ 1599431 h 1660500"/>
                  <a:gd name="connsiteX56" fmla="*/ 1100611 w 1920955"/>
                  <a:gd name="connsiteY56" fmla="*/ 1660313 h 1660500"/>
                  <a:gd name="connsiteX57" fmla="*/ 1133949 w 1920955"/>
                  <a:gd name="connsiteY57" fmla="*/ 1579351 h 1660500"/>
                  <a:gd name="connsiteX58" fmla="*/ 1176811 w 1920955"/>
                  <a:gd name="connsiteY58" fmla="*/ 1598401 h 1660500"/>
                  <a:gd name="connsiteX59" fmla="*/ 1210149 w 1920955"/>
                  <a:gd name="connsiteY59" fmla="*/ 1617451 h 1660500"/>
                  <a:gd name="connsiteX60" fmla="*/ 1233961 w 1920955"/>
                  <a:gd name="connsiteY60" fmla="*/ 1579351 h 1660500"/>
                  <a:gd name="connsiteX61" fmla="*/ 1267299 w 1920955"/>
                  <a:gd name="connsiteY61" fmla="*/ 1655551 h 1660500"/>
                  <a:gd name="connsiteX62" fmla="*/ 1348261 w 1920955"/>
                  <a:gd name="connsiteY62" fmla="*/ 1626976 h 1660500"/>
                  <a:gd name="connsiteX63" fmla="*/ 1414936 w 1920955"/>
                  <a:gd name="connsiteY63" fmla="*/ 1555538 h 1660500"/>
                  <a:gd name="connsiteX64" fmla="*/ 1433986 w 1920955"/>
                  <a:gd name="connsiteY64" fmla="*/ 1607926 h 1660500"/>
                  <a:gd name="connsiteX65" fmla="*/ 1410174 w 1920955"/>
                  <a:gd name="connsiteY65" fmla="*/ 1612688 h 1660500"/>
                  <a:gd name="connsiteX66" fmla="*/ 1543524 w 1920955"/>
                  <a:gd name="connsiteY66" fmla="*/ 1579351 h 1660500"/>
                  <a:gd name="connsiteX67" fmla="*/ 1581624 w 1920955"/>
                  <a:gd name="connsiteY67" fmla="*/ 1507913 h 1660500"/>
                  <a:gd name="connsiteX68" fmla="*/ 1643536 w 1920955"/>
                  <a:gd name="connsiteY68" fmla="*/ 1412663 h 1660500"/>
                  <a:gd name="connsiteX69" fmla="*/ 1714974 w 1920955"/>
                  <a:gd name="connsiteY69" fmla="*/ 1384088 h 1660500"/>
                  <a:gd name="connsiteX70" fmla="*/ 1772124 w 1920955"/>
                  <a:gd name="connsiteY70" fmla="*/ 1379326 h 1660500"/>
                  <a:gd name="connsiteX71" fmla="*/ 1772124 w 1920955"/>
                  <a:gd name="connsiteY71" fmla="*/ 1450763 h 1660500"/>
                  <a:gd name="connsiteX72" fmla="*/ 1886424 w 1920955"/>
                  <a:gd name="connsiteY72" fmla="*/ 1446001 h 1660500"/>
                  <a:gd name="connsiteX73" fmla="*/ 1919761 w 1920955"/>
                  <a:gd name="connsiteY73" fmla="*/ 1441238 h 1660500"/>
                  <a:gd name="connsiteX74" fmla="*/ 1853086 w 1920955"/>
                  <a:gd name="connsiteY74" fmla="*/ 1398376 h 1660500"/>
                  <a:gd name="connsiteX75" fmla="*/ 1853086 w 1920955"/>
                  <a:gd name="connsiteY75" fmla="*/ 1303126 h 1660500"/>
                  <a:gd name="connsiteX76" fmla="*/ 1853086 w 1920955"/>
                  <a:gd name="connsiteY76" fmla="*/ 1245976 h 1660500"/>
                  <a:gd name="connsiteX77" fmla="*/ 1810224 w 1920955"/>
                  <a:gd name="connsiteY77" fmla="*/ 1236451 h 1660500"/>
                  <a:gd name="connsiteX78" fmla="*/ 1734024 w 1920955"/>
                  <a:gd name="connsiteY78" fmla="*/ 1155488 h 1660500"/>
                  <a:gd name="connsiteX79" fmla="*/ 1695924 w 1920955"/>
                  <a:gd name="connsiteY79" fmla="*/ 974513 h 1660500"/>
                  <a:gd name="connsiteX80" fmla="*/ 1643536 w 1920955"/>
                  <a:gd name="connsiteY80" fmla="*/ 941176 h 1660500"/>
                  <a:gd name="connsiteX81" fmla="*/ 1605436 w 1920955"/>
                  <a:gd name="connsiteY81" fmla="*/ 884026 h 1660500"/>
                  <a:gd name="connsiteX82" fmla="*/ 1557811 w 1920955"/>
                  <a:gd name="connsiteY82" fmla="*/ 836401 h 1660500"/>
                  <a:gd name="connsiteX83" fmla="*/ 1505424 w 1920955"/>
                  <a:gd name="connsiteY83" fmla="*/ 817351 h 1660500"/>
                  <a:gd name="connsiteX84" fmla="*/ 1453036 w 1920955"/>
                  <a:gd name="connsiteY84" fmla="*/ 812588 h 1660500"/>
                  <a:gd name="connsiteX85" fmla="*/ 1510186 w 1920955"/>
                  <a:gd name="connsiteY85" fmla="*/ 779251 h 1660500"/>
                  <a:gd name="connsiteX86" fmla="*/ 1476849 w 1920955"/>
                  <a:gd name="connsiteY86" fmla="*/ 745913 h 1660500"/>
                  <a:gd name="connsiteX87" fmla="*/ 1481611 w 1920955"/>
                  <a:gd name="connsiteY87" fmla="*/ 722101 h 1660500"/>
                  <a:gd name="connsiteX88" fmla="*/ 1572099 w 1920955"/>
                  <a:gd name="connsiteY88" fmla="*/ 760201 h 1660500"/>
                  <a:gd name="connsiteX89" fmla="*/ 1624486 w 1920955"/>
                  <a:gd name="connsiteY89" fmla="*/ 693526 h 1660500"/>
                  <a:gd name="connsiteX90" fmla="*/ 1614961 w 1920955"/>
                  <a:gd name="connsiteY90" fmla="*/ 550651 h 1660500"/>
                  <a:gd name="connsiteX91" fmla="*/ 1610199 w 1920955"/>
                  <a:gd name="connsiteY91" fmla="*/ 412538 h 1660500"/>
                  <a:gd name="connsiteX0" fmla="*/ 1610199 w 1920955"/>
                  <a:gd name="connsiteY0" fmla="*/ 412538 h 1657354"/>
                  <a:gd name="connsiteX1" fmla="*/ 1567336 w 1920955"/>
                  <a:gd name="connsiteY1" fmla="*/ 369676 h 1657354"/>
                  <a:gd name="connsiteX2" fmla="*/ 1467324 w 1920955"/>
                  <a:gd name="connsiteY2" fmla="*/ 345863 h 1657354"/>
                  <a:gd name="connsiteX3" fmla="*/ 1419699 w 1920955"/>
                  <a:gd name="connsiteY3" fmla="*/ 317288 h 1657354"/>
                  <a:gd name="connsiteX4" fmla="*/ 1367311 w 1920955"/>
                  <a:gd name="connsiteY4" fmla="*/ 160126 h 1657354"/>
                  <a:gd name="connsiteX5" fmla="*/ 1338736 w 1920955"/>
                  <a:gd name="connsiteY5" fmla="*/ 12488 h 1657354"/>
                  <a:gd name="connsiteX6" fmla="*/ 1267299 w 1920955"/>
                  <a:gd name="connsiteY6" fmla="*/ 12488 h 1657354"/>
                  <a:gd name="connsiteX7" fmla="*/ 1214911 w 1920955"/>
                  <a:gd name="connsiteY7" fmla="*/ 50588 h 1657354"/>
                  <a:gd name="connsiteX8" fmla="*/ 1214911 w 1920955"/>
                  <a:gd name="connsiteY8" fmla="*/ 155363 h 1657354"/>
                  <a:gd name="connsiteX9" fmla="*/ 1186336 w 1920955"/>
                  <a:gd name="connsiteY9" fmla="*/ 183938 h 1657354"/>
                  <a:gd name="connsiteX10" fmla="*/ 1176811 w 1920955"/>
                  <a:gd name="connsiteY10" fmla="*/ 255376 h 1657354"/>
                  <a:gd name="connsiteX11" fmla="*/ 1114899 w 1920955"/>
                  <a:gd name="connsiteY11" fmla="*/ 298238 h 1657354"/>
                  <a:gd name="connsiteX12" fmla="*/ 1005361 w 1920955"/>
                  <a:gd name="connsiteY12" fmla="*/ 312526 h 1657354"/>
                  <a:gd name="connsiteX13" fmla="*/ 962499 w 1920955"/>
                  <a:gd name="connsiteY13" fmla="*/ 355388 h 1657354"/>
                  <a:gd name="connsiteX14" fmla="*/ 838674 w 1920955"/>
                  <a:gd name="connsiteY14" fmla="*/ 355388 h 1657354"/>
                  <a:gd name="connsiteX15" fmla="*/ 781524 w 1920955"/>
                  <a:gd name="connsiteY15" fmla="*/ 426826 h 1657354"/>
                  <a:gd name="connsiteX16" fmla="*/ 781524 w 1920955"/>
                  <a:gd name="connsiteY16" fmla="*/ 460163 h 1657354"/>
                  <a:gd name="connsiteX17" fmla="*/ 743424 w 1920955"/>
                  <a:gd name="connsiteY17" fmla="*/ 483976 h 1657354"/>
                  <a:gd name="connsiteX18" fmla="*/ 671986 w 1920955"/>
                  <a:gd name="connsiteY18" fmla="*/ 417301 h 1657354"/>
                  <a:gd name="connsiteX19" fmla="*/ 519586 w 1920955"/>
                  <a:gd name="connsiteY19" fmla="*/ 412538 h 1657354"/>
                  <a:gd name="connsiteX20" fmla="*/ 457674 w 1920955"/>
                  <a:gd name="connsiteY20" fmla="*/ 431588 h 1657354"/>
                  <a:gd name="connsiteX21" fmla="*/ 419574 w 1920955"/>
                  <a:gd name="connsiteY21" fmla="*/ 417301 h 1657354"/>
                  <a:gd name="connsiteX22" fmla="*/ 400524 w 1920955"/>
                  <a:gd name="connsiteY22" fmla="*/ 355388 h 1657354"/>
                  <a:gd name="connsiteX23" fmla="*/ 333849 w 1920955"/>
                  <a:gd name="connsiteY23" fmla="*/ 303001 h 1657354"/>
                  <a:gd name="connsiteX24" fmla="*/ 286224 w 1920955"/>
                  <a:gd name="connsiteY24" fmla="*/ 236326 h 1657354"/>
                  <a:gd name="connsiteX25" fmla="*/ 143349 w 1920955"/>
                  <a:gd name="connsiteY25" fmla="*/ 255376 h 1657354"/>
                  <a:gd name="connsiteX26" fmla="*/ 124299 w 1920955"/>
                  <a:gd name="connsiteY26" fmla="*/ 331576 h 1657354"/>
                  <a:gd name="connsiteX27" fmla="*/ 110011 w 1920955"/>
                  <a:gd name="connsiteY27" fmla="*/ 364913 h 1657354"/>
                  <a:gd name="connsiteX28" fmla="*/ 133824 w 1920955"/>
                  <a:gd name="connsiteY28" fmla="*/ 412538 h 1657354"/>
                  <a:gd name="connsiteX29" fmla="*/ 81436 w 1920955"/>
                  <a:gd name="connsiteY29" fmla="*/ 450638 h 1657354"/>
                  <a:gd name="connsiteX30" fmla="*/ 33811 w 1920955"/>
                  <a:gd name="connsiteY30" fmla="*/ 445876 h 1657354"/>
                  <a:gd name="connsiteX31" fmla="*/ 33811 w 1920955"/>
                  <a:gd name="connsiteY31" fmla="*/ 517313 h 1657354"/>
                  <a:gd name="connsiteX32" fmla="*/ 474 w 1920955"/>
                  <a:gd name="connsiteY32" fmla="*/ 622088 h 1657354"/>
                  <a:gd name="connsiteX33" fmla="*/ 62386 w 1920955"/>
                  <a:gd name="connsiteY33" fmla="*/ 698288 h 1657354"/>
                  <a:gd name="connsiteX34" fmla="*/ 111977 w 1920955"/>
                  <a:gd name="connsiteY34" fmla="*/ 678550 h 1657354"/>
                  <a:gd name="connsiteX35" fmla="*/ 112334 w 1920955"/>
                  <a:gd name="connsiteY35" fmla="*/ 748809 h 1657354"/>
                  <a:gd name="connsiteX36" fmla="*/ 167161 w 1920955"/>
                  <a:gd name="connsiteY36" fmla="*/ 779251 h 1657354"/>
                  <a:gd name="connsiteX37" fmla="*/ 236159 w 1920955"/>
                  <a:gd name="connsiteY37" fmla="*/ 789463 h 1657354"/>
                  <a:gd name="connsiteX38" fmla="*/ 271462 w 1920955"/>
                  <a:gd name="connsiteY38" fmla="*/ 845434 h 1657354"/>
                  <a:gd name="connsiteX39" fmla="*/ 270869 w 1920955"/>
                  <a:gd name="connsiteY39" fmla="*/ 890506 h 1657354"/>
                  <a:gd name="connsiteX40" fmla="*/ 295393 w 1920955"/>
                  <a:gd name="connsiteY40" fmla="*/ 929981 h 1657354"/>
                  <a:gd name="connsiteX41" fmla="*/ 341051 w 1920955"/>
                  <a:gd name="connsiteY41" fmla="*/ 968573 h 1657354"/>
                  <a:gd name="connsiteX42" fmla="*/ 426184 w 1920955"/>
                  <a:gd name="connsiteY42" fmla="*/ 1022825 h 1657354"/>
                  <a:gd name="connsiteX43" fmla="*/ 461961 w 1920955"/>
                  <a:gd name="connsiteY43" fmla="*/ 1093918 h 1657354"/>
                  <a:gd name="connsiteX44" fmla="*/ 441064 w 1920955"/>
                  <a:gd name="connsiteY44" fmla="*/ 1163491 h 1657354"/>
                  <a:gd name="connsiteX45" fmla="*/ 519111 w 1920955"/>
                  <a:gd name="connsiteY45" fmla="*/ 1219954 h 1657354"/>
                  <a:gd name="connsiteX46" fmla="*/ 591143 w 1920955"/>
                  <a:gd name="connsiteY46" fmla="*/ 1252948 h 1657354"/>
                  <a:gd name="connsiteX47" fmla="*/ 571974 w 1920955"/>
                  <a:gd name="connsiteY47" fmla="*/ 1312651 h 1657354"/>
                  <a:gd name="connsiteX48" fmla="*/ 662461 w 1920955"/>
                  <a:gd name="connsiteY48" fmla="*/ 1465051 h 1657354"/>
                  <a:gd name="connsiteX49" fmla="*/ 755271 w 1920955"/>
                  <a:gd name="connsiteY49" fmla="*/ 1538205 h 1657354"/>
                  <a:gd name="connsiteX50" fmla="*/ 805336 w 1920955"/>
                  <a:gd name="connsiteY50" fmla="*/ 1488863 h 1657354"/>
                  <a:gd name="connsiteX51" fmla="*/ 869926 w 1920955"/>
                  <a:gd name="connsiteY51" fmla="*/ 1516260 h 1657354"/>
                  <a:gd name="connsiteX52" fmla="*/ 924399 w 1920955"/>
                  <a:gd name="connsiteY52" fmla="*/ 1484101 h 1657354"/>
                  <a:gd name="connsiteX53" fmla="*/ 941246 w 1920955"/>
                  <a:gd name="connsiteY53" fmla="*/ 1441925 h 1657354"/>
                  <a:gd name="connsiteX54" fmla="*/ 1005123 w 1920955"/>
                  <a:gd name="connsiteY54" fmla="*/ 1528337 h 1657354"/>
                  <a:gd name="connsiteX55" fmla="*/ 1050190 w 1920955"/>
                  <a:gd name="connsiteY55" fmla="*/ 1599431 h 1657354"/>
                  <a:gd name="connsiteX56" fmla="*/ 1103052 w 1920955"/>
                  <a:gd name="connsiteY56" fmla="*/ 1611805 h 1657354"/>
                  <a:gd name="connsiteX57" fmla="*/ 1133949 w 1920955"/>
                  <a:gd name="connsiteY57" fmla="*/ 1579351 h 1657354"/>
                  <a:gd name="connsiteX58" fmla="*/ 1176811 w 1920955"/>
                  <a:gd name="connsiteY58" fmla="*/ 1598401 h 1657354"/>
                  <a:gd name="connsiteX59" fmla="*/ 1210149 w 1920955"/>
                  <a:gd name="connsiteY59" fmla="*/ 1617451 h 1657354"/>
                  <a:gd name="connsiteX60" fmla="*/ 1233961 w 1920955"/>
                  <a:gd name="connsiteY60" fmla="*/ 1579351 h 1657354"/>
                  <a:gd name="connsiteX61" fmla="*/ 1267299 w 1920955"/>
                  <a:gd name="connsiteY61" fmla="*/ 1655551 h 1657354"/>
                  <a:gd name="connsiteX62" fmla="*/ 1348261 w 1920955"/>
                  <a:gd name="connsiteY62" fmla="*/ 1626976 h 1657354"/>
                  <a:gd name="connsiteX63" fmla="*/ 1414936 w 1920955"/>
                  <a:gd name="connsiteY63" fmla="*/ 1555538 h 1657354"/>
                  <a:gd name="connsiteX64" fmla="*/ 1433986 w 1920955"/>
                  <a:gd name="connsiteY64" fmla="*/ 1607926 h 1657354"/>
                  <a:gd name="connsiteX65" fmla="*/ 1410174 w 1920955"/>
                  <a:gd name="connsiteY65" fmla="*/ 1612688 h 1657354"/>
                  <a:gd name="connsiteX66" fmla="*/ 1543524 w 1920955"/>
                  <a:gd name="connsiteY66" fmla="*/ 1579351 h 1657354"/>
                  <a:gd name="connsiteX67" fmla="*/ 1581624 w 1920955"/>
                  <a:gd name="connsiteY67" fmla="*/ 1507913 h 1657354"/>
                  <a:gd name="connsiteX68" fmla="*/ 1643536 w 1920955"/>
                  <a:gd name="connsiteY68" fmla="*/ 1412663 h 1657354"/>
                  <a:gd name="connsiteX69" fmla="*/ 1714974 w 1920955"/>
                  <a:gd name="connsiteY69" fmla="*/ 1384088 h 1657354"/>
                  <a:gd name="connsiteX70" fmla="*/ 1772124 w 1920955"/>
                  <a:gd name="connsiteY70" fmla="*/ 1379326 h 1657354"/>
                  <a:gd name="connsiteX71" fmla="*/ 1772124 w 1920955"/>
                  <a:gd name="connsiteY71" fmla="*/ 1450763 h 1657354"/>
                  <a:gd name="connsiteX72" fmla="*/ 1886424 w 1920955"/>
                  <a:gd name="connsiteY72" fmla="*/ 1446001 h 1657354"/>
                  <a:gd name="connsiteX73" fmla="*/ 1919761 w 1920955"/>
                  <a:gd name="connsiteY73" fmla="*/ 1441238 h 1657354"/>
                  <a:gd name="connsiteX74" fmla="*/ 1853086 w 1920955"/>
                  <a:gd name="connsiteY74" fmla="*/ 1398376 h 1657354"/>
                  <a:gd name="connsiteX75" fmla="*/ 1853086 w 1920955"/>
                  <a:gd name="connsiteY75" fmla="*/ 1303126 h 1657354"/>
                  <a:gd name="connsiteX76" fmla="*/ 1853086 w 1920955"/>
                  <a:gd name="connsiteY76" fmla="*/ 1245976 h 1657354"/>
                  <a:gd name="connsiteX77" fmla="*/ 1810224 w 1920955"/>
                  <a:gd name="connsiteY77" fmla="*/ 1236451 h 1657354"/>
                  <a:gd name="connsiteX78" fmla="*/ 1734024 w 1920955"/>
                  <a:gd name="connsiteY78" fmla="*/ 1155488 h 1657354"/>
                  <a:gd name="connsiteX79" fmla="*/ 1695924 w 1920955"/>
                  <a:gd name="connsiteY79" fmla="*/ 974513 h 1657354"/>
                  <a:gd name="connsiteX80" fmla="*/ 1643536 w 1920955"/>
                  <a:gd name="connsiteY80" fmla="*/ 941176 h 1657354"/>
                  <a:gd name="connsiteX81" fmla="*/ 1605436 w 1920955"/>
                  <a:gd name="connsiteY81" fmla="*/ 884026 h 1657354"/>
                  <a:gd name="connsiteX82" fmla="*/ 1557811 w 1920955"/>
                  <a:gd name="connsiteY82" fmla="*/ 836401 h 1657354"/>
                  <a:gd name="connsiteX83" fmla="*/ 1505424 w 1920955"/>
                  <a:gd name="connsiteY83" fmla="*/ 817351 h 1657354"/>
                  <a:gd name="connsiteX84" fmla="*/ 1453036 w 1920955"/>
                  <a:gd name="connsiteY84" fmla="*/ 812588 h 1657354"/>
                  <a:gd name="connsiteX85" fmla="*/ 1510186 w 1920955"/>
                  <a:gd name="connsiteY85" fmla="*/ 779251 h 1657354"/>
                  <a:gd name="connsiteX86" fmla="*/ 1476849 w 1920955"/>
                  <a:gd name="connsiteY86" fmla="*/ 745913 h 1657354"/>
                  <a:gd name="connsiteX87" fmla="*/ 1481611 w 1920955"/>
                  <a:gd name="connsiteY87" fmla="*/ 722101 h 1657354"/>
                  <a:gd name="connsiteX88" fmla="*/ 1572099 w 1920955"/>
                  <a:gd name="connsiteY88" fmla="*/ 760201 h 1657354"/>
                  <a:gd name="connsiteX89" fmla="*/ 1624486 w 1920955"/>
                  <a:gd name="connsiteY89" fmla="*/ 693526 h 1657354"/>
                  <a:gd name="connsiteX90" fmla="*/ 1614961 w 1920955"/>
                  <a:gd name="connsiteY90" fmla="*/ 550651 h 1657354"/>
                  <a:gd name="connsiteX91" fmla="*/ 1610199 w 1920955"/>
                  <a:gd name="connsiteY91" fmla="*/ 412538 h 1657354"/>
                  <a:gd name="connsiteX0" fmla="*/ 1610199 w 1920955"/>
                  <a:gd name="connsiteY0" fmla="*/ 412538 h 1696167"/>
                  <a:gd name="connsiteX1" fmla="*/ 1567336 w 1920955"/>
                  <a:gd name="connsiteY1" fmla="*/ 369676 h 1696167"/>
                  <a:gd name="connsiteX2" fmla="*/ 1467324 w 1920955"/>
                  <a:gd name="connsiteY2" fmla="*/ 345863 h 1696167"/>
                  <a:gd name="connsiteX3" fmla="*/ 1419699 w 1920955"/>
                  <a:gd name="connsiteY3" fmla="*/ 317288 h 1696167"/>
                  <a:gd name="connsiteX4" fmla="*/ 1367311 w 1920955"/>
                  <a:gd name="connsiteY4" fmla="*/ 160126 h 1696167"/>
                  <a:gd name="connsiteX5" fmla="*/ 1338736 w 1920955"/>
                  <a:gd name="connsiteY5" fmla="*/ 12488 h 1696167"/>
                  <a:gd name="connsiteX6" fmla="*/ 1267299 w 1920955"/>
                  <a:gd name="connsiteY6" fmla="*/ 12488 h 1696167"/>
                  <a:gd name="connsiteX7" fmla="*/ 1214911 w 1920955"/>
                  <a:gd name="connsiteY7" fmla="*/ 50588 h 1696167"/>
                  <a:gd name="connsiteX8" fmla="*/ 1214911 w 1920955"/>
                  <a:gd name="connsiteY8" fmla="*/ 155363 h 1696167"/>
                  <a:gd name="connsiteX9" fmla="*/ 1186336 w 1920955"/>
                  <a:gd name="connsiteY9" fmla="*/ 183938 h 1696167"/>
                  <a:gd name="connsiteX10" fmla="*/ 1176811 w 1920955"/>
                  <a:gd name="connsiteY10" fmla="*/ 255376 h 1696167"/>
                  <a:gd name="connsiteX11" fmla="*/ 1114899 w 1920955"/>
                  <a:gd name="connsiteY11" fmla="*/ 298238 h 1696167"/>
                  <a:gd name="connsiteX12" fmla="*/ 1005361 w 1920955"/>
                  <a:gd name="connsiteY12" fmla="*/ 312526 h 1696167"/>
                  <a:gd name="connsiteX13" fmla="*/ 962499 w 1920955"/>
                  <a:gd name="connsiteY13" fmla="*/ 355388 h 1696167"/>
                  <a:gd name="connsiteX14" fmla="*/ 838674 w 1920955"/>
                  <a:gd name="connsiteY14" fmla="*/ 355388 h 1696167"/>
                  <a:gd name="connsiteX15" fmla="*/ 781524 w 1920955"/>
                  <a:gd name="connsiteY15" fmla="*/ 426826 h 1696167"/>
                  <a:gd name="connsiteX16" fmla="*/ 781524 w 1920955"/>
                  <a:gd name="connsiteY16" fmla="*/ 460163 h 1696167"/>
                  <a:gd name="connsiteX17" fmla="*/ 743424 w 1920955"/>
                  <a:gd name="connsiteY17" fmla="*/ 483976 h 1696167"/>
                  <a:gd name="connsiteX18" fmla="*/ 671986 w 1920955"/>
                  <a:gd name="connsiteY18" fmla="*/ 417301 h 1696167"/>
                  <a:gd name="connsiteX19" fmla="*/ 519586 w 1920955"/>
                  <a:gd name="connsiteY19" fmla="*/ 412538 h 1696167"/>
                  <a:gd name="connsiteX20" fmla="*/ 457674 w 1920955"/>
                  <a:gd name="connsiteY20" fmla="*/ 431588 h 1696167"/>
                  <a:gd name="connsiteX21" fmla="*/ 419574 w 1920955"/>
                  <a:gd name="connsiteY21" fmla="*/ 417301 h 1696167"/>
                  <a:gd name="connsiteX22" fmla="*/ 400524 w 1920955"/>
                  <a:gd name="connsiteY22" fmla="*/ 355388 h 1696167"/>
                  <a:gd name="connsiteX23" fmla="*/ 333849 w 1920955"/>
                  <a:gd name="connsiteY23" fmla="*/ 303001 h 1696167"/>
                  <a:gd name="connsiteX24" fmla="*/ 286224 w 1920955"/>
                  <a:gd name="connsiteY24" fmla="*/ 236326 h 1696167"/>
                  <a:gd name="connsiteX25" fmla="*/ 143349 w 1920955"/>
                  <a:gd name="connsiteY25" fmla="*/ 255376 h 1696167"/>
                  <a:gd name="connsiteX26" fmla="*/ 124299 w 1920955"/>
                  <a:gd name="connsiteY26" fmla="*/ 331576 h 1696167"/>
                  <a:gd name="connsiteX27" fmla="*/ 110011 w 1920955"/>
                  <a:gd name="connsiteY27" fmla="*/ 364913 h 1696167"/>
                  <a:gd name="connsiteX28" fmla="*/ 133824 w 1920955"/>
                  <a:gd name="connsiteY28" fmla="*/ 412538 h 1696167"/>
                  <a:gd name="connsiteX29" fmla="*/ 81436 w 1920955"/>
                  <a:gd name="connsiteY29" fmla="*/ 450638 h 1696167"/>
                  <a:gd name="connsiteX30" fmla="*/ 33811 w 1920955"/>
                  <a:gd name="connsiteY30" fmla="*/ 445876 h 1696167"/>
                  <a:gd name="connsiteX31" fmla="*/ 33811 w 1920955"/>
                  <a:gd name="connsiteY31" fmla="*/ 517313 h 1696167"/>
                  <a:gd name="connsiteX32" fmla="*/ 474 w 1920955"/>
                  <a:gd name="connsiteY32" fmla="*/ 622088 h 1696167"/>
                  <a:gd name="connsiteX33" fmla="*/ 62386 w 1920955"/>
                  <a:gd name="connsiteY33" fmla="*/ 698288 h 1696167"/>
                  <a:gd name="connsiteX34" fmla="*/ 111977 w 1920955"/>
                  <a:gd name="connsiteY34" fmla="*/ 678550 h 1696167"/>
                  <a:gd name="connsiteX35" fmla="*/ 112334 w 1920955"/>
                  <a:gd name="connsiteY35" fmla="*/ 748809 h 1696167"/>
                  <a:gd name="connsiteX36" fmla="*/ 167161 w 1920955"/>
                  <a:gd name="connsiteY36" fmla="*/ 779251 h 1696167"/>
                  <a:gd name="connsiteX37" fmla="*/ 236159 w 1920955"/>
                  <a:gd name="connsiteY37" fmla="*/ 789463 h 1696167"/>
                  <a:gd name="connsiteX38" fmla="*/ 271462 w 1920955"/>
                  <a:gd name="connsiteY38" fmla="*/ 845434 h 1696167"/>
                  <a:gd name="connsiteX39" fmla="*/ 270869 w 1920955"/>
                  <a:gd name="connsiteY39" fmla="*/ 890506 h 1696167"/>
                  <a:gd name="connsiteX40" fmla="*/ 295393 w 1920955"/>
                  <a:gd name="connsiteY40" fmla="*/ 929981 h 1696167"/>
                  <a:gd name="connsiteX41" fmla="*/ 341051 w 1920955"/>
                  <a:gd name="connsiteY41" fmla="*/ 968573 h 1696167"/>
                  <a:gd name="connsiteX42" fmla="*/ 426184 w 1920955"/>
                  <a:gd name="connsiteY42" fmla="*/ 1022825 h 1696167"/>
                  <a:gd name="connsiteX43" fmla="*/ 461961 w 1920955"/>
                  <a:gd name="connsiteY43" fmla="*/ 1093918 h 1696167"/>
                  <a:gd name="connsiteX44" fmla="*/ 441064 w 1920955"/>
                  <a:gd name="connsiteY44" fmla="*/ 1163491 h 1696167"/>
                  <a:gd name="connsiteX45" fmla="*/ 519111 w 1920955"/>
                  <a:gd name="connsiteY45" fmla="*/ 1219954 h 1696167"/>
                  <a:gd name="connsiteX46" fmla="*/ 591143 w 1920955"/>
                  <a:gd name="connsiteY46" fmla="*/ 1252948 h 1696167"/>
                  <a:gd name="connsiteX47" fmla="*/ 571974 w 1920955"/>
                  <a:gd name="connsiteY47" fmla="*/ 1312651 h 1696167"/>
                  <a:gd name="connsiteX48" fmla="*/ 662461 w 1920955"/>
                  <a:gd name="connsiteY48" fmla="*/ 1465051 h 1696167"/>
                  <a:gd name="connsiteX49" fmla="*/ 755271 w 1920955"/>
                  <a:gd name="connsiteY49" fmla="*/ 1538205 h 1696167"/>
                  <a:gd name="connsiteX50" fmla="*/ 805336 w 1920955"/>
                  <a:gd name="connsiteY50" fmla="*/ 1488863 h 1696167"/>
                  <a:gd name="connsiteX51" fmla="*/ 869926 w 1920955"/>
                  <a:gd name="connsiteY51" fmla="*/ 1516260 h 1696167"/>
                  <a:gd name="connsiteX52" fmla="*/ 924399 w 1920955"/>
                  <a:gd name="connsiteY52" fmla="*/ 1484101 h 1696167"/>
                  <a:gd name="connsiteX53" fmla="*/ 941246 w 1920955"/>
                  <a:gd name="connsiteY53" fmla="*/ 1441925 h 1696167"/>
                  <a:gd name="connsiteX54" fmla="*/ 1005123 w 1920955"/>
                  <a:gd name="connsiteY54" fmla="*/ 1528337 h 1696167"/>
                  <a:gd name="connsiteX55" fmla="*/ 1050190 w 1920955"/>
                  <a:gd name="connsiteY55" fmla="*/ 1599431 h 1696167"/>
                  <a:gd name="connsiteX56" fmla="*/ 1132339 w 1920955"/>
                  <a:gd name="connsiteY56" fmla="*/ 1696055 h 1696167"/>
                  <a:gd name="connsiteX57" fmla="*/ 1133949 w 1920955"/>
                  <a:gd name="connsiteY57" fmla="*/ 1579351 h 1696167"/>
                  <a:gd name="connsiteX58" fmla="*/ 1176811 w 1920955"/>
                  <a:gd name="connsiteY58" fmla="*/ 1598401 h 1696167"/>
                  <a:gd name="connsiteX59" fmla="*/ 1210149 w 1920955"/>
                  <a:gd name="connsiteY59" fmla="*/ 1617451 h 1696167"/>
                  <a:gd name="connsiteX60" fmla="*/ 1233961 w 1920955"/>
                  <a:gd name="connsiteY60" fmla="*/ 1579351 h 1696167"/>
                  <a:gd name="connsiteX61" fmla="*/ 1267299 w 1920955"/>
                  <a:gd name="connsiteY61" fmla="*/ 1655551 h 1696167"/>
                  <a:gd name="connsiteX62" fmla="*/ 1348261 w 1920955"/>
                  <a:gd name="connsiteY62" fmla="*/ 1626976 h 1696167"/>
                  <a:gd name="connsiteX63" fmla="*/ 1414936 w 1920955"/>
                  <a:gd name="connsiteY63" fmla="*/ 1555538 h 1696167"/>
                  <a:gd name="connsiteX64" fmla="*/ 1433986 w 1920955"/>
                  <a:gd name="connsiteY64" fmla="*/ 1607926 h 1696167"/>
                  <a:gd name="connsiteX65" fmla="*/ 1410174 w 1920955"/>
                  <a:gd name="connsiteY65" fmla="*/ 1612688 h 1696167"/>
                  <a:gd name="connsiteX66" fmla="*/ 1543524 w 1920955"/>
                  <a:gd name="connsiteY66" fmla="*/ 1579351 h 1696167"/>
                  <a:gd name="connsiteX67" fmla="*/ 1581624 w 1920955"/>
                  <a:gd name="connsiteY67" fmla="*/ 1507913 h 1696167"/>
                  <a:gd name="connsiteX68" fmla="*/ 1643536 w 1920955"/>
                  <a:gd name="connsiteY68" fmla="*/ 1412663 h 1696167"/>
                  <a:gd name="connsiteX69" fmla="*/ 1714974 w 1920955"/>
                  <a:gd name="connsiteY69" fmla="*/ 1384088 h 1696167"/>
                  <a:gd name="connsiteX70" fmla="*/ 1772124 w 1920955"/>
                  <a:gd name="connsiteY70" fmla="*/ 1379326 h 1696167"/>
                  <a:gd name="connsiteX71" fmla="*/ 1772124 w 1920955"/>
                  <a:gd name="connsiteY71" fmla="*/ 1450763 h 1696167"/>
                  <a:gd name="connsiteX72" fmla="*/ 1886424 w 1920955"/>
                  <a:gd name="connsiteY72" fmla="*/ 1446001 h 1696167"/>
                  <a:gd name="connsiteX73" fmla="*/ 1919761 w 1920955"/>
                  <a:gd name="connsiteY73" fmla="*/ 1441238 h 1696167"/>
                  <a:gd name="connsiteX74" fmla="*/ 1853086 w 1920955"/>
                  <a:gd name="connsiteY74" fmla="*/ 1398376 h 1696167"/>
                  <a:gd name="connsiteX75" fmla="*/ 1853086 w 1920955"/>
                  <a:gd name="connsiteY75" fmla="*/ 1303126 h 1696167"/>
                  <a:gd name="connsiteX76" fmla="*/ 1853086 w 1920955"/>
                  <a:gd name="connsiteY76" fmla="*/ 1245976 h 1696167"/>
                  <a:gd name="connsiteX77" fmla="*/ 1810224 w 1920955"/>
                  <a:gd name="connsiteY77" fmla="*/ 1236451 h 1696167"/>
                  <a:gd name="connsiteX78" fmla="*/ 1734024 w 1920955"/>
                  <a:gd name="connsiteY78" fmla="*/ 1155488 h 1696167"/>
                  <a:gd name="connsiteX79" fmla="*/ 1695924 w 1920955"/>
                  <a:gd name="connsiteY79" fmla="*/ 974513 h 1696167"/>
                  <a:gd name="connsiteX80" fmla="*/ 1643536 w 1920955"/>
                  <a:gd name="connsiteY80" fmla="*/ 941176 h 1696167"/>
                  <a:gd name="connsiteX81" fmla="*/ 1605436 w 1920955"/>
                  <a:gd name="connsiteY81" fmla="*/ 884026 h 1696167"/>
                  <a:gd name="connsiteX82" fmla="*/ 1557811 w 1920955"/>
                  <a:gd name="connsiteY82" fmla="*/ 836401 h 1696167"/>
                  <a:gd name="connsiteX83" fmla="*/ 1505424 w 1920955"/>
                  <a:gd name="connsiteY83" fmla="*/ 817351 h 1696167"/>
                  <a:gd name="connsiteX84" fmla="*/ 1453036 w 1920955"/>
                  <a:gd name="connsiteY84" fmla="*/ 812588 h 1696167"/>
                  <a:gd name="connsiteX85" fmla="*/ 1510186 w 1920955"/>
                  <a:gd name="connsiteY85" fmla="*/ 779251 h 1696167"/>
                  <a:gd name="connsiteX86" fmla="*/ 1476849 w 1920955"/>
                  <a:gd name="connsiteY86" fmla="*/ 745913 h 1696167"/>
                  <a:gd name="connsiteX87" fmla="*/ 1481611 w 1920955"/>
                  <a:gd name="connsiteY87" fmla="*/ 722101 h 1696167"/>
                  <a:gd name="connsiteX88" fmla="*/ 1572099 w 1920955"/>
                  <a:gd name="connsiteY88" fmla="*/ 760201 h 1696167"/>
                  <a:gd name="connsiteX89" fmla="*/ 1624486 w 1920955"/>
                  <a:gd name="connsiteY89" fmla="*/ 693526 h 1696167"/>
                  <a:gd name="connsiteX90" fmla="*/ 1614961 w 1920955"/>
                  <a:gd name="connsiteY90" fmla="*/ 550651 h 1696167"/>
                  <a:gd name="connsiteX91" fmla="*/ 1610199 w 1920955"/>
                  <a:gd name="connsiteY91" fmla="*/ 412538 h 1696167"/>
                  <a:gd name="connsiteX0" fmla="*/ 1610199 w 1920955"/>
                  <a:gd name="connsiteY0" fmla="*/ 412538 h 1696335"/>
                  <a:gd name="connsiteX1" fmla="*/ 1567336 w 1920955"/>
                  <a:gd name="connsiteY1" fmla="*/ 369676 h 1696335"/>
                  <a:gd name="connsiteX2" fmla="*/ 1467324 w 1920955"/>
                  <a:gd name="connsiteY2" fmla="*/ 345863 h 1696335"/>
                  <a:gd name="connsiteX3" fmla="*/ 1419699 w 1920955"/>
                  <a:gd name="connsiteY3" fmla="*/ 317288 h 1696335"/>
                  <a:gd name="connsiteX4" fmla="*/ 1367311 w 1920955"/>
                  <a:gd name="connsiteY4" fmla="*/ 160126 h 1696335"/>
                  <a:gd name="connsiteX5" fmla="*/ 1338736 w 1920955"/>
                  <a:gd name="connsiteY5" fmla="*/ 12488 h 1696335"/>
                  <a:gd name="connsiteX6" fmla="*/ 1267299 w 1920955"/>
                  <a:gd name="connsiteY6" fmla="*/ 12488 h 1696335"/>
                  <a:gd name="connsiteX7" fmla="*/ 1214911 w 1920955"/>
                  <a:gd name="connsiteY7" fmla="*/ 50588 h 1696335"/>
                  <a:gd name="connsiteX8" fmla="*/ 1214911 w 1920955"/>
                  <a:gd name="connsiteY8" fmla="*/ 155363 h 1696335"/>
                  <a:gd name="connsiteX9" fmla="*/ 1186336 w 1920955"/>
                  <a:gd name="connsiteY9" fmla="*/ 183938 h 1696335"/>
                  <a:gd name="connsiteX10" fmla="*/ 1176811 w 1920955"/>
                  <a:gd name="connsiteY10" fmla="*/ 255376 h 1696335"/>
                  <a:gd name="connsiteX11" fmla="*/ 1114899 w 1920955"/>
                  <a:gd name="connsiteY11" fmla="*/ 298238 h 1696335"/>
                  <a:gd name="connsiteX12" fmla="*/ 1005361 w 1920955"/>
                  <a:gd name="connsiteY12" fmla="*/ 312526 h 1696335"/>
                  <a:gd name="connsiteX13" fmla="*/ 962499 w 1920955"/>
                  <a:gd name="connsiteY13" fmla="*/ 355388 h 1696335"/>
                  <a:gd name="connsiteX14" fmla="*/ 838674 w 1920955"/>
                  <a:gd name="connsiteY14" fmla="*/ 355388 h 1696335"/>
                  <a:gd name="connsiteX15" fmla="*/ 781524 w 1920955"/>
                  <a:gd name="connsiteY15" fmla="*/ 426826 h 1696335"/>
                  <a:gd name="connsiteX16" fmla="*/ 781524 w 1920955"/>
                  <a:gd name="connsiteY16" fmla="*/ 460163 h 1696335"/>
                  <a:gd name="connsiteX17" fmla="*/ 743424 w 1920955"/>
                  <a:gd name="connsiteY17" fmla="*/ 483976 h 1696335"/>
                  <a:gd name="connsiteX18" fmla="*/ 671986 w 1920955"/>
                  <a:gd name="connsiteY18" fmla="*/ 417301 h 1696335"/>
                  <a:gd name="connsiteX19" fmla="*/ 519586 w 1920955"/>
                  <a:gd name="connsiteY19" fmla="*/ 412538 h 1696335"/>
                  <a:gd name="connsiteX20" fmla="*/ 457674 w 1920955"/>
                  <a:gd name="connsiteY20" fmla="*/ 431588 h 1696335"/>
                  <a:gd name="connsiteX21" fmla="*/ 419574 w 1920955"/>
                  <a:gd name="connsiteY21" fmla="*/ 417301 h 1696335"/>
                  <a:gd name="connsiteX22" fmla="*/ 400524 w 1920955"/>
                  <a:gd name="connsiteY22" fmla="*/ 355388 h 1696335"/>
                  <a:gd name="connsiteX23" fmla="*/ 333849 w 1920955"/>
                  <a:gd name="connsiteY23" fmla="*/ 303001 h 1696335"/>
                  <a:gd name="connsiteX24" fmla="*/ 286224 w 1920955"/>
                  <a:gd name="connsiteY24" fmla="*/ 236326 h 1696335"/>
                  <a:gd name="connsiteX25" fmla="*/ 143349 w 1920955"/>
                  <a:gd name="connsiteY25" fmla="*/ 255376 h 1696335"/>
                  <a:gd name="connsiteX26" fmla="*/ 124299 w 1920955"/>
                  <a:gd name="connsiteY26" fmla="*/ 331576 h 1696335"/>
                  <a:gd name="connsiteX27" fmla="*/ 110011 w 1920955"/>
                  <a:gd name="connsiteY27" fmla="*/ 364913 h 1696335"/>
                  <a:gd name="connsiteX28" fmla="*/ 133824 w 1920955"/>
                  <a:gd name="connsiteY28" fmla="*/ 412538 h 1696335"/>
                  <a:gd name="connsiteX29" fmla="*/ 81436 w 1920955"/>
                  <a:gd name="connsiteY29" fmla="*/ 450638 h 1696335"/>
                  <a:gd name="connsiteX30" fmla="*/ 33811 w 1920955"/>
                  <a:gd name="connsiteY30" fmla="*/ 445876 h 1696335"/>
                  <a:gd name="connsiteX31" fmla="*/ 33811 w 1920955"/>
                  <a:gd name="connsiteY31" fmla="*/ 517313 h 1696335"/>
                  <a:gd name="connsiteX32" fmla="*/ 474 w 1920955"/>
                  <a:gd name="connsiteY32" fmla="*/ 622088 h 1696335"/>
                  <a:gd name="connsiteX33" fmla="*/ 62386 w 1920955"/>
                  <a:gd name="connsiteY33" fmla="*/ 698288 h 1696335"/>
                  <a:gd name="connsiteX34" fmla="*/ 111977 w 1920955"/>
                  <a:gd name="connsiteY34" fmla="*/ 678550 h 1696335"/>
                  <a:gd name="connsiteX35" fmla="*/ 112334 w 1920955"/>
                  <a:gd name="connsiteY35" fmla="*/ 748809 h 1696335"/>
                  <a:gd name="connsiteX36" fmla="*/ 167161 w 1920955"/>
                  <a:gd name="connsiteY36" fmla="*/ 779251 h 1696335"/>
                  <a:gd name="connsiteX37" fmla="*/ 236159 w 1920955"/>
                  <a:gd name="connsiteY37" fmla="*/ 789463 h 1696335"/>
                  <a:gd name="connsiteX38" fmla="*/ 271462 w 1920955"/>
                  <a:gd name="connsiteY38" fmla="*/ 845434 h 1696335"/>
                  <a:gd name="connsiteX39" fmla="*/ 270869 w 1920955"/>
                  <a:gd name="connsiteY39" fmla="*/ 890506 h 1696335"/>
                  <a:gd name="connsiteX40" fmla="*/ 295393 w 1920955"/>
                  <a:gd name="connsiteY40" fmla="*/ 929981 h 1696335"/>
                  <a:gd name="connsiteX41" fmla="*/ 341051 w 1920955"/>
                  <a:gd name="connsiteY41" fmla="*/ 968573 h 1696335"/>
                  <a:gd name="connsiteX42" fmla="*/ 426184 w 1920955"/>
                  <a:gd name="connsiteY42" fmla="*/ 1022825 h 1696335"/>
                  <a:gd name="connsiteX43" fmla="*/ 461961 w 1920955"/>
                  <a:gd name="connsiteY43" fmla="*/ 1093918 h 1696335"/>
                  <a:gd name="connsiteX44" fmla="*/ 441064 w 1920955"/>
                  <a:gd name="connsiteY44" fmla="*/ 1163491 h 1696335"/>
                  <a:gd name="connsiteX45" fmla="*/ 519111 w 1920955"/>
                  <a:gd name="connsiteY45" fmla="*/ 1219954 h 1696335"/>
                  <a:gd name="connsiteX46" fmla="*/ 591143 w 1920955"/>
                  <a:gd name="connsiteY46" fmla="*/ 1252948 h 1696335"/>
                  <a:gd name="connsiteX47" fmla="*/ 571974 w 1920955"/>
                  <a:gd name="connsiteY47" fmla="*/ 1312651 h 1696335"/>
                  <a:gd name="connsiteX48" fmla="*/ 662461 w 1920955"/>
                  <a:gd name="connsiteY48" fmla="*/ 1465051 h 1696335"/>
                  <a:gd name="connsiteX49" fmla="*/ 755271 w 1920955"/>
                  <a:gd name="connsiteY49" fmla="*/ 1538205 h 1696335"/>
                  <a:gd name="connsiteX50" fmla="*/ 805336 w 1920955"/>
                  <a:gd name="connsiteY50" fmla="*/ 1488863 h 1696335"/>
                  <a:gd name="connsiteX51" fmla="*/ 869926 w 1920955"/>
                  <a:gd name="connsiteY51" fmla="*/ 1516260 h 1696335"/>
                  <a:gd name="connsiteX52" fmla="*/ 924399 w 1920955"/>
                  <a:gd name="connsiteY52" fmla="*/ 1484101 h 1696335"/>
                  <a:gd name="connsiteX53" fmla="*/ 941246 w 1920955"/>
                  <a:gd name="connsiteY53" fmla="*/ 1441925 h 1696335"/>
                  <a:gd name="connsiteX54" fmla="*/ 1005123 w 1920955"/>
                  <a:gd name="connsiteY54" fmla="*/ 1528337 h 1696335"/>
                  <a:gd name="connsiteX55" fmla="*/ 1050190 w 1920955"/>
                  <a:gd name="connsiteY55" fmla="*/ 1599431 h 1696335"/>
                  <a:gd name="connsiteX56" fmla="*/ 1132339 w 1920955"/>
                  <a:gd name="connsiteY56" fmla="*/ 1696055 h 1696335"/>
                  <a:gd name="connsiteX57" fmla="*/ 1151034 w 1920955"/>
                  <a:gd name="connsiteY57" fmla="*/ 1627859 h 1696335"/>
                  <a:gd name="connsiteX58" fmla="*/ 1176811 w 1920955"/>
                  <a:gd name="connsiteY58" fmla="*/ 1598401 h 1696335"/>
                  <a:gd name="connsiteX59" fmla="*/ 1210149 w 1920955"/>
                  <a:gd name="connsiteY59" fmla="*/ 1617451 h 1696335"/>
                  <a:gd name="connsiteX60" fmla="*/ 1233961 w 1920955"/>
                  <a:gd name="connsiteY60" fmla="*/ 1579351 h 1696335"/>
                  <a:gd name="connsiteX61" fmla="*/ 1267299 w 1920955"/>
                  <a:gd name="connsiteY61" fmla="*/ 1655551 h 1696335"/>
                  <a:gd name="connsiteX62" fmla="*/ 1348261 w 1920955"/>
                  <a:gd name="connsiteY62" fmla="*/ 1626976 h 1696335"/>
                  <a:gd name="connsiteX63" fmla="*/ 1414936 w 1920955"/>
                  <a:gd name="connsiteY63" fmla="*/ 1555538 h 1696335"/>
                  <a:gd name="connsiteX64" fmla="*/ 1433986 w 1920955"/>
                  <a:gd name="connsiteY64" fmla="*/ 1607926 h 1696335"/>
                  <a:gd name="connsiteX65" fmla="*/ 1410174 w 1920955"/>
                  <a:gd name="connsiteY65" fmla="*/ 1612688 h 1696335"/>
                  <a:gd name="connsiteX66" fmla="*/ 1543524 w 1920955"/>
                  <a:gd name="connsiteY66" fmla="*/ 1579351 h 1696335"/>
                  <a:gd name="connsiteX67" fmla="*/ 1581624 w 1920955"/>
                  <a:gd name="connsiteY67" fmla="*/ 1507913 h 1696335"/>
                  <a:gd name="connsiteX68" fmla="*/ 1643536 w 1920955"/>
                  <a:gd name="connsiteY68" fmla="*/ 1412663 h 1696335"/>
                  <a:gd name="connsiteX69" fmla="*/ 1714974 w 1920955"/>
                  <a:gd name="connsiteY69" fmla="*/ 1384088 h 1696335"/>
                  <a:gd name="connsiteX70" fmla="*/ 1772124 w 1920955"/>
                  <a:gd name="connsiteY70" fmla="*/ 1379326 h 1696335"/>
                  <a:gd name="connsiteX71" fmla="*/ 1772124 w 1920955"/>
                  <a:gd name="connsiteY71" fmla="*/ 1450763 h 1696335"/>
                  <a:gd name="connsiteX72" fmla="*/ 1886424 w 1920955"/>
                  <a:gd name="connsiteY72" fmla="*/ 1446001 h 1696335"/>
                  <a:gd name="connsiteX73" fmla="*/ 1919761 w 1920955"/>
                  <a:gd name="connsiteY73" fmla="*/ 1441238 h 1696335"/>
                  <a:gd name="connsiteX74" fmla="*/ 1853086 w 1920955"/>
                  <a:gd name="connsiteY74" fmla="*/ 1398376 h 1696335"/>
                  <a:gd name="connsiteX75" fmla="*/ 1853086 w 1920955"/>
                  <a:gd name="connsiteY75" fmla="*/ 1303126 h 1696335"/>
                  <a:gd name="connsiteX76" fmla="*/ 1853086 w 1920955"/>
                  <a:gd name="connsiteY76" fmla="*/ 1245976 h 1696335"/>
                  <a:gd name="connsiteX77" fmla="*/ 1810224 w 1920955"/>
                  <a:gd name="connsiteY77" fmla="*/ 1236451 h 1696335"/>
                  <a:gd name="connsiteX78" fmla="*/ 1734024 w 1920955"/>
                  <a:gd name="connsiteY78" fmla="*/ 1155488 h 1696335"/>
                  <a:gd name="connsiteX79" fmla="*/ 1695924 w 1920955"/>
                  <a:gd name="connsiteY79" fmla="*/ 974513 h 1696335"/>
                  <a:gd name="connsiteX80" fmla="*/ 1643536 w 1920955"/>
                  <a:gd name="connsiteY80" fmla="*/ 941176 h 1696335"/>
                  <a:gd name="connsiteX81" fmla="*/ 1605436 w 1920955"/>
                  <a:gd name="connsiteY81" fmla="*/ 884026 h 1696335"/>
                  <a:gd name="connsiteX82" fmla="*/ 1557811 w 1920955"/>
                  <a:gd name="connsiteY82" fmla="*/ 836401 h 1696335"/>
                  <a:gd name="connsiteX83" fmla="*/ 1505424 w 1920955"/>
                  <a:gd name="connsiteY83" fmla="*/ 817351 h 1696335"/>
                  <a:gd name="connsiteX84" fmla="*/ 1453036 w 1920955"/>
                  <a:gd name="connsiteY84" fmla="*/ 812588 h 1696335"/>
                  <a:gd name="connsiteX85" fmla="*/ 1510186 w 1920955"/>
                  <a:gd name="connsiteY85" fmla="*/ 779251 h 1696335"/>
                  <a:gd name="connsiteX86" fmla="*/ 1476849 w 1920955"/>
                  <a:gd name="connsiteY86" fmla="*/ 745913 h 1696335"/>
                  <a:gd name="connsiteX87" fmla="*/ 1481611 w 1920955"/>
                  <a:gd name="connsiteY87" fmla="*/ 722101 h 1696335"/>
                  <a:gd name="connsiteX88" fmla="*/ 1572099 w 1920955"/>
                  <a:gd name="connsiteY88" fmla="*/ 760201 h 1696335"/>
                  <a:gd name="connsiteX89" fmla="*/ 1624486 w 1920955"/>
                  <a:gd name="connsiteY89" fmla="*/ 693526 h 1696335"/>
                  <a:gd name="connsiteX90" fmla="*/ 1614961 w 1920955"/>
                  <a:gd name="connsiteY90" fmla="*/ 550651 h 1696335"/>
                  <a:gd name="connsiteX91" fmla="*/ 1610199 w 1920955"/>
                  <a:gd name="connsiteY91" fmla="*/ 412538 h 1696335"/>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51"/>
                  <a:gd name="connsiteX1" fmla="*/ 1567336 w 1920955"/>
                  <a:gd name="connsiteY1" fmla="*/ 369676 h 1691251"/>
                  <a:gd name="connsiteX2" fmla="*/ 1467324 w 1920955"/>
                  <a:gd name="connsiteY2" fmla="*/ 345863 h 1691251"/>
                  <a:gd name="connsiteX3" fmla="*/ 1419699 w 1920955"/>
                  <a:gd name="connsiteY3" fmla="*/ 317288 h 1691251"/>
                  <a:gd name="connsiteX4" fmla="*/ 1367311 w 1920955"/>
                  <a:gd name="connsiteY4" fmla="*/ 160126 h 1691251"/>
                  <a:gd name="connsiteX5" fmla="*/ 1338736 w 1920955"/>
                  <a:gd name="connsiteY5" fmla="*/ 12488 h 1691251"/>
                  <a:gd name="connsiteX6" fmla="*/ 1267299 w 1920955"/>
                  <a:gd name="connsiteY6" fmla="*/ 12488 h 1691251"/>
                  <a:gd name="connsiteX7" fmla="*/ 1214911 w 1920955"/>
                  <a:gd name="connsiteY7" fmla="*/ 50588 h 1691251"/>
                  <a:gd name="connsiteX8" fmla="*/ 1214911 w 1920955"/>
                  <a:gd name="connsiteY8" fmla="*/ 155363 h 1691251"/>
                  <a:gd name="connsiteX9" fmla="*/ 1186336 w 1920955"/>
                  <a:gd name="connsiteY9" fmla="*/ 183938 h 1691251"/>
                  <a:gd name="connsiteX10" fmla="*/ 1176811 w 1920955"/>
                  <a:gd name="connsiteY10" fmla="*/ 255376 h 1691251"/>
                  <a:gd name="connsiteX11" fmla="*/ 1114899 w 1920955"/>
                  <a:gd name="connsiteY11" fmla="*/ 298238 h 1691251"/>
                  <a:gd name="connsiteX12" fmla="*/ 1005361 w 1920955"/>
                  <a:gd name="connsiteY12" fmla="*/ 312526 h 1691251"/>
                  <a:gd name="connsiteX13" fmla="*/ 962499 w 1920955"/>
                  <a:gd name="connsiteY13" fmla="*/ 355388 h 1691251"/>
                  <a:gd name="connsiteX14" fmla="*/ 838674 w 1920955"/>
                  <a:gd name="connsiteY14" fmla="*/ 355388 h 1691251"/>
                  <a:gd name="connsiteX15" fmla="*/ 781524 w 1920955"/>
                  <a:gd name="connsiteY15" fmla="*/ 426826 h 1691251"/>
                  <a:gd name="connsiteX16" fmla="*/ 781524 w 1920955"/>
                  <a:gd name="connsiteY16" fmla="*/ 460163 h 1691251"/>
                  <a:gd name="connsiteX17" fmla="*/ 743424 w 1920955"/>
                  <a:gd name="connsiteY17" fmla="*/ 483976 h 1691251"/>
                  <a:gd name="connsiteX18" fmla="*/ 671986 w 1920955"/>
                  <a:gd name="connsiteY18" fmla="*/ 417301 h 1691251"/>
                  <a:gd name="connsiteX19" fmla="*/ 519586 w 1920955"/>
                  <a:gd name="connsiteY19" fmla="*/ 412538 h 1691251"/>
                  <a:gd name="connsiteX20" fmla="*/ 457674 w 1920955"/>
                  <a:gd name="connsiteY20" fmla="*/ 431588 h 1691251"/>
                  <a:gd name="connsiteX21" fmla="*/ 419574 w 1920955"/>
                  <a:gd name="connsiteY21" fmla="*/ 417301 h 1691251"/>
                  <a:gd name="connsiteX22" fmla="*/ 400524 w 1920955"/>
                  <a:gd name="connsiteY22" fmla="*/ 355388 h 1691251"/>
                  <a:gd name="connsiteX23" fmla="*/ 333849 w 1920955"/>
                  <a:gd name="connsiteY23" fmla="*/ 303001 h 1691251"/>
                  <a:gd name="connsiteX24" fmla="*/ 286224 w 1920955"/>
                  <a:gd name="connsiteY24" fmla="*/ 236326 h 1691251"/>
                  <a:gd name="connsiteX25" fmla="*/ 143349 w 1920955"/>
                  <a:gd name="connsiteY25" fmla="*/ 255376 h 1691251"/>
                  <a:gd name="connsiteX26" fmla="*/ 124299 w 1920955"/>
                  <a:gd name="connsiteY26" fmla="*/ 331576 h 1691251"/>
                  <a:gd name="connsiteX27" fmla="*/ 110011 w 1920955"/>
                  <a:gd name="connsiteY27" fmla="*/ 364913 h 1691251"/>
                  <a:gd name="connsiteX28" fmla="*/ 133824 w 1920955"/>
                  <a:gd name="connsiteY28" fmla="*/ 412538 h 1691251"/>
                  <a:gd name="connsiteX29" fmla="*/ 81436 w 1920955"/>
                  <a:gd name="connsiteY29" fmla="*/ 450638 h 1691251"/>
                  <a:gd name="connsiteX30" fmla="*/ 33811 w 1920955"/>
                  <a:gd name="connsiteY30" fmla="*/ 445876 h 1691251"/>
                  <a:gd name="connsiteX31" fmla="*/ 33811 w 1920955"/>
                  <a:gd name="connsiteY31" fmla="*/ 517313 h 1691251"/>
                  <a:gd name="connsiteX32" fmla="*/ 474 w 1920955"/>
                  <a:gd name="connsiteY32" fmla="*/ 622088 h 1691251"/>
                  <a:gd name="connsiteX33" fmla="*/ 62386 w 1920955"/>
                  <a:gd name="connsiteY33" fmla="*/ 698288 h 1691251"/>
                  <a:gd name="connsiteX34" fmla="*/ 111977 w 1920955"/>
                  <a:gd name="connsiteY34" fmla="*/ 678550 h 1691251"/>
                  <a:gd name="connsiteX35" fmla="*/ 112334 w 1920955"/>
                  <a:gd name="connsiteY35" fmla="*/ 748809 h 1691251"/>
                  <a:gd name="connsiteX36" fmla="*/ 167161 w 1920955"/>
                  <a:gd name="connsiteY36" fmla="*/ 779251 h 1691251"/>
                  <a:gd name="connsiteX37" fmla="*/ 236159 w 1920955"/>
                  <a:gd name="connsiteY37" fmla="*/ 789463 h 1691251"/>
                  <a:gd name="connsiteX38" fmla="*/ 271462 w 1920955"/>
                  <a:gd name="connsiteY38" fmla="*/ 845434 h 1691251"/>
                  <a:gd name="connsiteX39" fmla="*/ 270869 w 1920955"/>
                  <a:gd name="connsiteY39" fmla="*/ 890506 h 1691251"/>
                  <a:gd name="connsiteX40" fmla="*/ 295393 w 1920955"/>
                  <a:gd name="connsiteY40" fmla="*/ 929981 h 1691251"/>
                  <a:gd name="connsiteX41" fmla="*/ 341051 w 1920955"/>
                  <a:gd name="connsiteY41" fmla="*/ 968573 h 1691251"/>
                  <a:gd name="connsiteX42" fmla="*/ 426184 w 1920955"/>
                  <a:gd name="connsiteY42" fmla="*/ 1022825 h 1691251"/>
                  <a:gd name="connsiteX43" fmla="*/ 461961 w 1920955"/>
                  <a:gd name="connsiteY43" fmla="*/ 1093918 h 1691251"/>
                  <a:gd name="connsiteX44" fmla="*/ 441064 w 1920955"/>
                  <a:gd name="connsiteY44" fmla="*/ 1163491 h 1691251"/>
                  <a:gd name="connsiteX45" fmla="*/ 519111 w 1920955"/>
                  <a:gd name="connsiteY45" fmla="*/ 1219954 h 1691251"/>
                  <a:gd name="connsiteX46" fmla="*/ 591143 w 1920955"/>
                  <a:gd name="connsiteY46" fmla="*/ 1252948 h 1691251"/>
                  <a:gd name="connsiteX47" fmla="*/ 571974 w 1920955"/>
                  <a:gd name="connsiteY47" fmla="*/ 1312651 h 1691251"/>
                  <a:gd name="connsiteX48" fmla="*/ 662461 w 1920955"/>
                  <a:gd name="connsiteY48" fmla="*/ 1465051 h 1691251"/>
                  <a:gd name="connsiteX49" fmla="*/ 755271 w 1920955"/>
                  <a:gd name="connsiteY49" fmla="*/ 1538205 h 1691251"/>
                  <a:gd name="connsiteX50" fmla="*/ 805336 w 1920955"/>
                  <a:gd name="connsiteY50" fmla="*/ 1488863 h 1691251"/>
                  <a:gd name="connsiteX51" fmla="*/ 869926 w 1920955"/>
                  <a:gd name="connsiteY51" fmla="*/ 1516260 h 1691251"/>
                  <a:gd name="connsiteX52" fmla="*/ 924399 w 1920955"/>
                  <a:gd name="connsiteY52" fmla="*/ 1484101 h 1691251"/>
                  <a:gd name="connsiteX53" fmla="*/ 941246 w 1920955"/>
                  <a:gd name="connsiteY53" fmla="*/ 1441925 h 1691251"/>
                  <a:gd name="connsiteX54" fmla="*/ 1005123 w 1920955"/>
                  <a:gd name="connsiteY54" fmla="*/ 1528337 h 1691251"/>
                  <a:gd name="connsiteX55" fmla="*/ 1050190 w 1920955"/>
                  <a:gd name="connsiteY55" fmla="*/ 1599431 h 1691251"/>
                  <a:gd name="connsiteX56" fmla="*/ 1120136 w 1920955"/>
                  <a:gd name="connsiteY56" fmla="*/ 1690950 h 1691251"/>
                  <a:gd name="connsiteX57" fmla="*/ 1151034 w 1920955"/>
                  <a:gd name="connsiteY57" fmla="*/ 1627859 h 1691251"/>
                  <a:gd name="connsiteX58" fmla="*/ 1176811 w 1920955"/>
                  <a:gd name="connsiteY58" fmla="*/ 1598401 h 1691251"/>
                  <a:gd name="connsiteX59" fmla="*/ 1210149 w 1920955"/>
                  <a:gd name="connsiteY59" fmla="*/ 1617451 h 1691251"/>
                  <a:gd name="connsiteX60" fmla="*/ 1233961 w 1920955"/>
                  <a:gd name="connsiteY60" fmla="*/ 1579351 h 1691251"/>
                  <a:gd name="connsiteX61" fmla="*/ 1267299 w 1920955"/>
                  <a:gd name="connsiteY61" fmla="*/ 1655551 h 1691251"/>
                  <a:gd name="connsiteX62" fmla="*/ 1348261 w 1920955"/>
                  <a:gd name="connsiteY62" fmla="*/ 1626976 h 1691251"/>
                  <a:gd name="connsiteX63" fmla="*/ 1414936 w 1920955"/>
                  <a:gd name="connsiteY63" fmla="*/ 1555538 h 1691251"/>
                  <a:gd name="connsiteX64" fmla="*/ 1433986 w 1920955"/>
                  <a:gd name="connsiteY64" fmla="*/ 1607926 h 1691251"/>
                  <a:gd name="connsiteX65" fmla="*/ 1410174 w 1920955"/>
                  <a:gd name="connsiteY65" fmla="*/ 1612688 h 1691251"/>
                  <a:gd name="connsiteX66" fmla="*/ 1543524 w 1920955"/>
                  <a:gd name="connsiteY66" fmla="*/ 1579351 h 1691251"/>
                  <a:gd name="connsiteX67" fmla="*/ 1581624 w 1920955"/>
                  <a:gd name="connsiteY67" fmla="*/ 1507913 h 1691251"/>
                  <a:gd name="connsiteX68" fmla="*/ 1643536 w 1920955"/>
                  <a:gd name="connsiteY68" fmla="*/ 1412663 h 1691251"/>
                  <a:gd name="connsiteX69" fmla="*/ 1714974 w 1920955"/>
                  <a:gd name="connsiteY69" fmla="*/ 1384088 h 1691251"/>
                  <a:gd name="connsiteX70" fmla="*/ 1772124 w 1920955"/>
                  <a:gd name="connsiteY70" fmla="*/ 1379326 h 1691251"/>
                  <a:gd name="connsiteX71" fmla="*/ 1772124 w 1920955"/>
                  <a:gd name="connsiteY71" fmla="*/ 1450763 h 1691251"/>
                  <a:gd name="connsiteX72" fmla="*/ 1886424 w 1920955"/>
                  <a:gd name="connsiteY72" fmla="*/ 1446001 h 1691251"/>
                  <a:gd name="connsiteX73" fmla="*/ 1919761 w 1920955"/>
                  <a:gd name="connsiteY73" fmla="*/ 1441238 h 1691251"/>
                  <a:gd name="connsiteX74" fmla="*/ 1853086 w 1920955"/>
                  <a:gd name="connsiteY74" fmla="*/ 1398376 h 1691251"/>
                  <a:gd name="connsiteX75" fmla="*/ 1853086 w 1920955"/>
                  <a:gd name="connsiteY75" fmla="*/ 1303126 h 1691251"/>
                  <a:gd name="connsiteX76" fmla="*/ 1853086 w 1920955"/>
                  <a:gd name="connsiteY76" fmla="*/ 1245976 h 1691251"/>
                  <a:gd name="connsiteX77" fmla="*/ 1810224 w 1920955"/>
                  <a:gd name="connsiteY77" fmla="*/ 1236451 h 1691251"/>
                  <a:gd name="connsiteX78" fmla="*/ 1734024 w 1920955"/>
                  <a:gd name="connsiteY78" fmla="*/ 1155488 h 1691251"/>
                  <a:gd name="connsiteX79" fmla="*/ 1695924 w 1920955"/>
                  <a:gd name="connsiteY79" fmla="*/ 974513 h 1691251"/>
                  <a:gd name="connsiteX80" fmla="*/ 1643536 w 1920955"/>
                  <a:gd name="connsiteY80" fmla="*/ 941176 h 1691251"/>
                  <a:gd name="connsiteX81" fmla="*/ 1605436 w 1920955"/>
                  <a:gd name="connsiteY81" fmla="*/ 884026 h 1691251"/>
                  <a:gd name="connsiteX82" fmla="*/ 1557811 w 1920955"/>
                  <a:gd name="connsiteY82" fmla="*/ 836401 h 1691251"/>
                  <a:gd name="connsiteX83" fmla="*/ 1505424 w 1920955"/>
                  <a:gd name="connsiteY83" fmla="*/ 817351 h 1691251"/>
                  <a:gd name="connsiteX84" fmla="*/ 1453036 w 1920955"/>
                  <a:gd name="connsiteY84" fmla="*/ 812588 h 1691251"/>
                  <a:gd name="connsiteX85" fmla="*/ 1510186 w 1920955"/>
                  <a:gd name="connsiteY85" fmla="*/ 779251 h 1691251"/>
                  <a:gd name="connsiteX86" fmla="*/ 1476849 w 1920955"/>
                  <a:gd name="connsiteY86" fmla="*/ 745913 h 1691251"/>
                  <a:gd name="connsiteX87" fmla="*/ 1481611 w 1920955"/>
                  <a:gd name="connsiteY87" fmla="*/ 722101 h 1691251"/>
                  <a:gd name="connsiteX88" fmla="*/ 1572099 w 1920955"/>
                  <a:gd name="connsiteY88" fmla="*/ 760201 h 1691251"/>
                  <a:gd name="connsiteX89" fmla="*/ 1624486 w 1920955"/>
                  <a:gd name="connsiteY89" fmla="*/ 693526 h 1691251"/>
                  <a:gd name="connsiteX90" fmla="*/ 1614961 w 1920955"/>
                  <a:gd name="connsiteY90" fmla="*/ 550651 h 1691251"/>
                  <a:gd name="connsiteX91" fmla="*/ 1610199 w 1920955"/>
                  <a:gd name="connsiteY91" fmla="*/ 412538 h 1691251"/>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10149 w 1920955"/>
                  <a:gd name="connsiteY59" fmla="*/ 1617451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33961 w 1920955"/>
                  <a:gd name="connsiteY60" fmla="*/ 1579351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67299 w 1920955"/>
                  <a:gd name="connsiteY61" fmla="*/ 1655551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08789 w 1920955"/>
                  <a:gd name="connsiteY61" fmla="*/ 1594278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311230 w 1920955"/>
                  <a:gd name="connsiteY61" fmla="*/ 1681082 h 1691232"/>
                  <a:gd name="connsiteX62" fmla="*/ 1348261 w 1920955"/>
                  <a:gd name="connsiteY62" fmla="*/ 1626976 h 1691232"/>
                  <a:gd name="connsiteX63" fmla="*/ 1414936 w 1920955"/>
                  <a:gd name="connsiteY63" fmla="*/ 1555538 h 1691232"/>
                  <a:gd name="connsiteX64" fmla="*/ 1433986 w 1920955"/>
                  <a:gd name="connsiteY64" fmla="*/ 1607926 h 1691232"/>
                  <a:gd name="connsiteX65" fmla="*/ 1410174 w 1920955"/>
                  <a:gd name="connsiteY65" fmla="*/ 1612688 h 1691232"/>
                  <a:gd name="connsiteX66" fmla="*/ 1543524 w 1920955"/>
                  <a:gd name="connsiteY66" fmla="*/ 1579351 h 1691232"/>
                  <a:gd name="connsiteX67" fmla="*/ 1581624 w 1920955"/>
                  <a:gd name="connsiteY67" fmla="*/ 1507913 h 1691232"/>
                  <a:gd name="connsiteX68" fmla="*/ 1643536 w 1920955"/>
                  <a:gd name="connsiteY68" fmla="*/ 1412663 h 1691232"/>
                  <a:gd name="connsiteX69" fmla="*/ 1714974 w 1920955"/>
                  <a:gd name="connsiteY69" fmla="*/ 1384088 h 1691232"/>
                  <a:gd name="connsiteX70" fmla="*/ 1772124 w 1920955"/>
                  <a:gd name="connsiteY70" fmla="*/ 1379326 h 1691232"/>
                  <a:gd name="connsiteX71" fmla="*/ 1772124 w 1920955"/>
                  <a:gd name="connsiteY71" fmla="*/ 1450763 h 1691232"/>
                  <a:gd name="connsiteX72" fmla="*/ 1886424 w 1920955"/>
                  <a:gd name="connsiteY72" fmla="*/ 1446001 h 1691232"/>
                  <a:gd name="connsiteX73" fmla="*/ 1919761 w 1920955"/>
                  <a:gd name="connsiteY73" fmla="*/ 1441238 h 1691232"/>
                  <a:gd name="connsiteX74" fmla="*/ 1853086 w 1920955"/>
                  <a:gd name="connsiteY74" fmla="*/ 1398376 h 1691232"/>
                  <a:gd name="connsiteX75" fmla="*/ 1853086 w 1920955"/>
                  <a:gd name="connsiteY75" fmla="*/ 1303126 h 1691232"/>
                  <a:gd name="connsiteX76" fmla="*/ 1853086 w 1920955"/>
                  <a:gd name="connsiteY76" fmla="*/ 1245976 h 1691232"/>
                  <a:gd name="connsiteX77" fmla="*/ 1810224 w 1920955"/>
                  <a:gd name="connsiteY77" fmla="*/ 1236451 h 1691232"/>
                  <a:gd name="connsiteX78" fmla="*/ 1734024 w 1920955"/>
                  <a:gd name="connsiteY78" fmla="*/ 1155488 h 1691232"/>
                  <a:gd name="connsiteX79" fmla="*/ 1695924 w 1920955"/>
                  <a:gd name="connsiteY79" fmla="*/ 974513 h 1691232"/>
                  <a:gd name="connsiteX80" fmla="*/ 1643536 w 1920955"/>
                  <a:gd name="connsiteY80" fmla="*/ 941176 h 1691232"/>
                  <a:gd name="connsiteX81" fmla="*/ 1605436 w 1920955"/>
                  <a:gd name="connsiteY81" fmla="*/ 884026 h 1691232"/>
                  <a:gd name="connsiteX82" fmla="*/ 1557811 w 1920955"/>
                  <a:gd name="connsiteY82" fmla="*/ 836401 h 1691232"/>
                  <a:gd name="connsiteX83" fmla="*/ 1505424 w 1920955"/>
                  <a:gd name="connsiteY83" fmla="*/ 817351 h 1691232"/>
                  <a:gd name="connsiteX84" fmla="*/ 1453036 w 1920955"/>
                  <a:gd name="connsiteY84" fmla="*/ 812588 h 1691232"/>
                  <a:gd name="connsiteX85" fmla="*/ 1510186 w 1920955"/>
                  <a:gd name="connsiteY85" fmla="*/ 779251 h 1691232"/>
                  <a:gd name="connsiteX86" fmla="*/ 1476849 w 1920955"/>
                  <a:gd name="connsiteY86" fmla="*/ 745913 h 1691232"/>
                  <a:gd name="connsiteX87" fmla="*/ 1481611 w 1920955"/>
                  <a:gd name="connsiteY87" fmla="*/ 722101 h 1691232"/>
                  <a:gd name="connsiteX88" fmla="*/ 1572099 w 1920955"/>
                  <a:gd name="connsiteY88" fmla="*/ 760201 h 1691232"/>
                  <a:gd name="connsiteX89" fmla="*/ 1624486 w 1920955"/>
                  <a:gd name="connsiteY89" fmla="*/ 693526 h 1691232"/>
                  <a:gd name="connsiteX90" fmla="*/ 1614961 w 1920955"/>
                  <a:gd name="connsiteY90" fmla="*/ 550651 h 1691232"/>
                  <a:gd name="connsiteX91" fmla="*/ 1610199 w 1920955"/>
                  <a:gd name="connsiteY91"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48261 w 1920955"/>
                  <a:gd name="connsiteY63" fmla="*/ 1626976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3986 w 1920955"/>
                  <a:gd name="connsiteY65" fmla="*/ 1607926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68155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38868 w 1920955"/>
                  <a:gd name="connsiteY65" fmla="*/ 1595161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10174 w 1920955"/>
                  <a:gd name="connsiteY66" fmla="*/ 1612688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4936 w 1920955"/>
                  <a:gd name="connsiteY64" fmla="*/ 1555538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76071 w 1920955"/>
                  <a:gd name="connsiteY66" fmla="*/ 1622900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505358 w 1920955"/>
                  <a:gd name="connsiteY66" fmla="*/ 164843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5477 w 1920955"/>
                  <a:gd name="connsiteY65" fmla="*/ 1541547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43524 w 1920955"/>
                  <a:gd name="connsiteY67" fmla="*/ 1579351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1624 w 1920955"/>
                  <a:gd name="connsiteY68" fmla="*/ 1507913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43536 w 1920955"/>
                  <a:gd name="connsiteY69" fmla="*/ 1412663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4065 w 1920955"/>
                  <a:gd name="connsiteY68" fmla="*/ 1525784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72124 w 1920955"/>
                  <a:gd name="connsiteY71" fmla="*/ 1379326 h 1691232"/>
                  <a:gd name="connsiteX72" fmla="*/ 1772124 w 1920955"/>
                  <a:gd name="connsiteY72" fmla="*/ 1450763 h 1691232"/>
                  <a:gd name="connsiteX73" fmla="*/ 1886424 w 1920955"/>
                  <a:gd name="connsiteY73" fmla="*/ 1446001 h 1691232"/>
                  <a:gd name="connsiteX74" fmla="*/ 1919761 w 1920955"/>
                  <a:gd name="connsiteY74" fmla="*/ 1441238 h 1691232"/>
                  <a:gd name="connsiteX75" fmla="*/ 1853086 w 1920955"/>
                  <a:gd name="connsiteY75" fmla="*/ 1398376 h 1691232"/>
                  <a:gd name="connsiteX76" fmla="*/ 1853086 w 1920955"/>
                  <a:gd name="connsiteY76" fmla="*/ 1303126 h 1691232"/>
                  <a:gd name="connsiteX77" fmla="*/ 1853086 w 1920955"/>
                  <a:gd name="connsiteY77" fmla="*/ 1245976 h 1691232"/>
                  <a:gd name="connsiteX78" fmla="*/ 1810224 w 1920955"/>
                  <a:gd name="connsiteY78" fmla="*/ 1236451 h 1691232"/>
                  <a:gd name="connsiteX79" fmla="*/ 1734024 w 1920955"/>
                  <a:gd name="connsiteY79" fmla="*/ 1155488 h 1691232"/>
                  <a:gd name="connsiteX80" fmla="*/ 1695924 w 1920955"/>
                  <a:gd name="connsiteY80" fmla="*/ 974513 h 1691232"/>
                  <a:gd name="connsiteX81" fmla="*/ 1643536 w 1920955"/>
                  <a:gd name="connsiteY81" fmla="*/ 941176 h 1691232"/>
                  <a:gd name="connsiteX82" fmla="*/ 1605436 w 1920955"/>
                  <a:gd name="connsiteY82" fmla="*/ 884026 h 1691232"/>
                  <a:gd name="connsiteX83" fmla="*/ 1557811 w 1920955"/>
                  <a:gd name="connsiteY83" fmla="*/ 836401 h 1691232"/>
                  <a:gd name="connsiteX84" fmla="*/ 1505424 w 1920955"/>
                  <a:gd name="connsiteY84" fmla="*/ 817351 h 1691232"/>
                  <a:gd name="connsiteX85" fmla="*/ 1453036 w 1920955"/>
                  <a:gd name="connsiteY85" fmla="*/ 812588 h 1691232"/>
                  <a:gd name="connsiteX86" fmla="*/ 1510186 w 1920955"/>
                  <a:gd name="connsiteY86" fmla="*/ 779251 h 1691232"/>
                  <a:gd name="connsiteX87" fmla="*/ 1476849 w 1920955"/>
                  <a:gd name="connsiteY87" fmla="*/ 745913 h 1691232"/>
                  <a:gd name="connsiteX88" fmla="*/ 1481611 w 1920955"/>
                  <a:gd name="connsiteY88" fmla="*/ 722101 h 1691232"/>
                  <a:gd name="connsiteX89" fmla="*/ 1572099 w 1920955"/>
                  <a:gd name="connsiteY89" fmla="*/ 760201 h 1691232"/>
                  <a:gd name="connsiteX90" fmla="*/ 1624486 w 1920955"/>
                  <a:gd name="connsiteY90" fmla="*/ 693526 h 1691232"/>
                  <a:gd name="connsiteX91" fmla="*/ 1614961 w 1920955"/>
                  <a:gd name="connsiteY91" fmla="*/ 550651 h 1691232"/>
                  <a:gd name="connsiteX92" fmla="*/ 1610199 w 1920955"/>
                  <a:gd name="connsiteY92"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21378 w 1920955"/>
                  <a:gd name="connsiteY71" fmla="*/ 1402701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384088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36021 w 1920955"/>
                  <a:gd name="connsiteY71" fmla="*/ 1379724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772124 w 1920955"/>
                  <a:gd name="connsiteY72" fmla="*/ 1379326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03851 w 1920955"/>
                  <a:gd name="connsiteY72" fmla="*/ 1369114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955"/>
                  <a:gd name="connsiteY0" fmla="*/ 412538 h 1691232"/>
                  <a:gd name="connsiteX1" fmla="*/ 1567336 w 1920955"/>
                  <a:gd name="connsiteY1" fmla="*/ 369676 h 1691232"/>
                  <a:gd name="connsiteX2" fmla="*/ 1467324 w 1920955"/>
                  <a:gd name="connsiteY2" fmla="*/ 345863 h 1691232"/>
                  <a:gd name="connsiteX3" fmla="*/ 1419699 w 1920955"/>
                  <a:gd name="connsiteY3" fmla="*/ 317288 h 1691232"/>
                  <a:gd name="connsiteX4" fmla="*/ 1367311 w 1920955"/>
                  <a:gd name="connsiteY4" fmla="*/ 160126 h 1691232"/>
                  <a:gd name="connsiteX5" fmla="*/ 1338736 w 1920955"/>
                  <a:gd name="connsiteY5" fmla="*/ 12488 h 1691232"/>
                  <a:gd name="connsiteX6" fmla="*/ 1267299 w 1920955"/>
                  <a:gd name="connsiteY6" fmla="*/ 12488 h 1691232"/>
                  <a:gd name="connsiteX7" fmla="*/ 1214911 w 1920955"/>
                  <a:gd name="connsiteY7" fmla="*/ 50588 h 1691232"/>
                  <a:gd name="connsiteX8" fmla="*/ 1214911 w 1920955"/>
                  <a:gd name="connsiteY8" fmla="*/ 155363 h 1691232"/>
                  <a:gd name="connsiteX9" fmla="*/ 1186336 w 1920955"/>
                  <a:gd name="connsiteY9" fmla="*/ 183938 h 1691232"/>
                  <a:gd name="connsiteX10" fmla="*/ 1176811 w 1920955"/>
                  <a:gd name="connsiteY10" fmla="*/ 255376 h 1691232"/>
                  <a:gd name="connsiteX11" fmla="*/ 1114899 w 1920955"/>
                  <a:gd name="connsiteY11" fmla="*/ 298238 h 1691232"/>
                  <a:gd name="connsiteX12" fmla="*/ 1005361 w 1920955"/>
                  <a:gd name="connsiteY12" fmla="*/ 312526 h 1691232"/>
                  <a:gd name="connsiteX13" fmla="*/ 962499 w 1920955"/>
                  <a:gd name="connsiteY13" fmla="*/ 355388 h 1691232"/>
                  <a:gd name="connsiteX14" fmla="*/ 838674 w 1920955"/>
                  <a:gd name="connsiteY14" fmla="*/ 355388 h 1691232"/>
                  <a:gd name="connsiteX15" fmla="*/ 781524 w 1920955"/>
                  <a:gd name="connsiteY15" fmla="*/ 426826 h 1691232"/>
                  <a:gd name="connsiteX16" fmla="*/ 781524 w 1920955"/>
                  <a:gd name="connsiteY16" fmla="*/ 460163 h 1691232"/>
                  <a:gd name="connsiteX17" fmla="*/ 743424 w 1920955"/>
                  <a:gd name="connsiteY17" fmla="*/ 483976 h 1691232"/>
                  <a:gd name="connsiteX18" fmla="*/ 671986 w 1920955"/>
                  <a:gd name="connsiteY18" fmla="*/ 417301 h 1691232"/>
                  <a:gd name="connsiteX19" fmla="*/ 519586 w 1920955"/>
                  <a:gd name="connsiteY19" fmla="*/ 412538 h 1691232"/>
                  <a:gd name="connsiteX20" fmla="*/ 457674 w 1920955"/>
                  <a:gd name="connsiteY20" fmla="*/ 431588 h 1691232"/>
                  <a:gd name="connsiteX21" fmla="*/ 419574 w 1920955"/>
                  <a:gd name="connsiteY21" fmla="*/ 417301 h 1691232"/>
                  <a:gd name="connsiteX22" fmla="*/ 400524 w 1920955"/>
                  <a:gd name="connsiteY22" fmla="*/ 355388 h 1691232"/>
                  <a:gd name="connsiteX23" fmla="*/ 333849 w 1920955"/>
                  <a:gd name="connsiteY23" fmla="*/ 303001 h 1691232"/>
                  <a:gd name="connsiteX24" fmla="*/ 286224 w 1920955"/>
                  <a:gd name="connsiteY24" fmla="*/ 236326 h 1691232"/>
                  <a:gd name="connsiteX25" fmla="*/ 143349 w 1920955"/>
                  <a:gd name="connsiteY25" fmla="*/ 255376 h 1691232"/>
                  <a:gd name="connsiteX26" fmla="*/ 124299 w 1920955"/>
                  <a:gd name="connsiteY26" fmla="*/ 331576 h 1691232"/>
                  <a:gd name="connsiteX27" fmla="*/ 110011 w 1920955"/>
                  <a:gd name="connsiteY27" fmla="*/ 364913 h 1691232"/>
                  <a:gd name="connsiteX28" fmla="*/ 133824 w 1920955"/>
                  <a:gd name="connsiteY28" fmla="*/ 412538 h 1691232"/>
                  <a:gd name="connsiteX29" fmla="*/ 81436 w 1920955"/>
                  <a:gd name="connsiteY29" fmla="*/ 450638 h 1691232"/>
                  <a:gd name="connsiteX30" fmla="*/ 33811 w 1920955"/>
                  <a:gd name="connsiteY30" fmla="*/ 445876 h 1691232"/>
                  <a:gd name="connsiteX31" fmla="*/ 33811 w 1920955"/>
                  <a:gd name="connsiteY31" fmla="*/ 517313 h 1691232"/>
                  <a:gd name="connsiteX32" fmla="*/ 474 w 1920955"/>
                  <a:gd name="connsiteY32" fmla="*/ 622088 h 1691232"/>
                  <a:gd name="connsiteX33" fmla="*/ 62386 w 1920955"/>
                  <a:gd name="connsiteY33" fmla="*/ 698288 h 1691232"/>
                  <a:gd name="connsiteX34" fmla="*/ 111977 w 1920955"/>
                  <a:gd name="connsiteY34" fmla="*/ 678550 h 1691232"/>
                  <a:gd name="connsiteX35" fmla="*/ 112334 w 1920955"/>
                  <a:gd name="connsiteY35" fmla="*/ 748809 h 1691232"/>
                  <a:gd name="connsiteX36" fmla="*/ 167161 w 1920955"/>
                  <a:gd name="connsiteY36" fmla="*/ 779251 h 1691232"/>
                  <a:gd name="connsiteX37" fmla="*/ 236159 w 1920955"/>
                  <a:gd name="connsiteY37" fmla="*/ 789463 h 1691232"/>
                  <a:gd name="connsiteX38" fmla="*/ 271462 w 1920955"/>
                  <a:gd name="connsiteY38" fmla="*/ 845434 h 1691232"/>
                  <a:gd name="connsiteX39" fmla="*/ 270869 w 1920955"/>
                  <a:gd name="connsiteY39" fmla="*/ 890506 h 1691232"/>
                  <a:gd name="connsiteX40" fmla="*/ 295393 w 1920955"/>
                  <a:gd name="connsiteY40" fmla="*/ 929981 h 1691232"/>
                  <a:gd name="connsiteX41" fmla="*/ 341051 w 1920955"/>
                  <a:gd name="connsiteY41" fmla="*/ 968573 h 1691232"/>
                  <a:gd name="connsiteX42" fmla="*/ 426184 w 1920955"/>
                  <a:gd name="connsiteY42" fmla="*/ 1022825 h 1691232"/>
                  <a:gd name="connsiteX43" fmla="*/ 461961 w 1920955"/>
                  <a:gd name="connsiteY43" fmla="*/ 1093918 h 1691232"/>
                  <a:gd name="connsiteX44" fmla="*/ 441064 w 1920955"/>
                  <a:gd name="connsiteY44" fmla="*/ 1163491 h 1691232"/>
                  <a:gd name="connsiteX45" fmla="*/ 519111 w 1920955"/>
                  <a:gd name="connsiteY45" fmla="*/ 1219954 h 1691232"/>
                  <a:gd name="connsiteX46" fmla="*/ 591143 w 1920955"/>
                  <a:gd name="connsiteY46" fmla="*/ 1252948 h 1691232"/>
                  <a:gd name="connsiteX47" fmla="*/ 571974 w 1920955"/>
                  <a:gd name="connsiteY47" fmla="*/ 1312651 h 1691232"/>
                  <a:gd name="connsiteX48" fmla="*/ 662461 w 1920955"/>
                  <a:gd name="connsiteY48" fmla="*/ 1465051 h 1691232"/>
                  <a:gd name="connsiteX49" fmla="*/ 755271 w 1920955"/>
                  <a:gd name="connsiteY49" fmla="*/ 1538205 h 1691232"/>
                  <a:gd name="connsiteX50" fmla="*/ 805336 w 1920955"/>
                  <a:gd name="connsiteY50" fmla="*/ 1488863 h 1691232"/>
                  <a:gd name="connsiteX51" fmla="*/ 869926 w 1920955"/>
                  <a:gd name="connsiteY51" fmla="*/ 1516260 h 1691232"/>
                  <a:gd name="connsiteX52" fmla="*/ 924399 w 1920955"/>
                  <a:gd name="connsiteY52" fmla="*/ 1484101 h 1691232"/>
                  <a:gd name="connsiteX53" fmla="*/ 941246 w 1920955"/>
                  <a:gd name="connsiteY53" fmla="*/ 1441925 h 1691232"/>
                  <a:gd name="connsiteX54" fmla="*/ 1005123 w 1920955"/>
                  <a:gd name="connsiteY54" fmla="*/ 1528337 h 1691232"/>
                  <a:gd name="connsiteX55" fmla="*/ 1050190 w 1920955"/>
                  <a:gd name="connsiteY55" fmla="*/ 1599431 h 1691232"/>
                  <a:gd name="connsiteX56" fmla="*/ 1120136 w 1920955"/>
                  <a:gd name="connsiteY56" fmla="*/ 1690950 h 1691232"/>
                  <a:gd name="connsiteX57" fmla="*/ 1151034 w 1920955"/>
                  <a:gd name="connsiteY57" fmla="*/ 1627859 h 1691232"/>
                  <a:gd name="connsiteX58" fmla="*/ 1181693 w 1920955"/>
                  <a:gd name="connsiteY58" fmla="*/ 1621379 h 1691232"/>
                  <a:gd name="connsiteX59" fmla="*/ 1224792 w 1920955"/>
                  <a:gd name="connsiteY59" fmla="*/ 1650642 h 1691232"/>
                  <a:gd name="connsiteX60" fmla="*/ 1258367 w 1920955"/>
                  <a:gd name="connsiteY60" fmla="*/ 1609988 h 1691232"/>
                  <a:gd name="connsiteX61" fmla="*/ 1277188 w 1920955"/>
                  <a:gd name="connsiteY61" fmla="*/ 1614605 h 1691232"/>
                  <a:gd name="connsiteX62" fmla="*/ 1311230 w 1920955"/>
                  <a:gd name="connsiteY62" fmla="*/ 1681082 h 1691232"/>
                  <a:gd name="connsiteX63" fmla="*/ 1367786 w 1920955"/>
                  <a:gd name="connsiteY63" fmla="*/ 1657613 h 1691232"/>
                  <a:gd name="connsiteX64" fmla="*/ 1419818 w 1920955"/>
                  <a:gd name="connsiteY64" fmla="*/ 1601492 h 1691232"/>
                  <a:gd name="connsiteX65" fmla="*/ 1470595 w 1920955"/>
                  <a:gd name="connsiteY65" fmla="*/ 1584949 h 1691232"/>
                  <a:gd name="connsiteX66" fmla="*/ 1488274 w 1920955"/>
                  <a:gd name="connsiteY66" fmla="*/ 1640771 h 1691232"/>
                  <a:gd name="connsiteX67" fmla="*/ 1558169 w 1920955"/>
                  <a:gd name="connsiteY67" fmla="*/ 1615093 h 1691232"/>
                  <a:gd name="connsiteX68" fmla="*/ 1588947 w 1920955"/>
                  <a:gd name="connsiteY68" fmla="*/ 1528337 h 1691232"/>
                  <a:gd name="connsiteX69" fmla="*/ 1670383 w 1920955"/>
                  <a:gd name="connsiteY69" fmla="*/ 1438195 h 1691232"/>
                  <a:gd name="connsiteX70" fmla="*/ 1714974 w 1920955"/>
                  <a:gd name="connsiteY70" fmla="*/ 1407065 h 1691232"/>
                  <a:gd name="connsiteX71" fmla="*/ 1743343 w 1920955"/>
                  <a:gd name="connsiteY71" fmla="*/ 1410360 h 1691232"/>
                  <a:gd name="connsiteX72" fmla="*/ 1828257 w 1920955"/>
                  <a:gd name="connsiteY72" fmla="*/ 1328265 h 1691232"/>
                  <a:gd name="connsiteX73" fmla="*/ 1772124 w 1920955"/>
                  <a:gd name="connsiteY73" fmla="*/ 1450763 h 1691232"/>
                  <a:gd name="connsiteX74" fmla="*/ 1886424 w 1920955"/>
                  <a:gd name="connsiteY74" fmla="*/ 1446001 h 1691232"/>
                  <a:gd name="connsiteX75" fmla="*/ 1919761 w 1920955"/>
                  <a:gd name="connsiteY75" fmla="*/ 1441238 h 1691232"/>
                  <a:gd name="connsiteX76" fmla="*/ 1853086 w 1920955"/>
                  <a:gd name="connsiteY76" fmla="*/ 1398376 h 1691232"/>
                  <a:gd name="connsiteX77" fmla="*/ 1853086 w 1920955"/>
                  <a:gd name="connsiteY77" fmla="*/ 1303126 h 1691232"/>
                  <a:gd name="connsiteX78" fmla="*/ 1853086 w 1920955"/>
                  <a:gd name="connsiteY78" fmla="*/ 1245976 h 1691232"/>
                  <a:gd name="connsiteX79" fmla="*/ 1810224 w 1920955"/>
                  <a:gd name="connsiteY79" fmla="*/ 1236451 h 1691232"/>
                  <a:gd name="connsiteX80" fmla="*/ 1734024 w 1920955"/>
                  <a:gd name="connsiteY80" fmla="*/ 1155488 h 1691232"/>
                  <a:gd name="connsiteX81" fmla="*/ 1695924 w 1920955"/>
                  <a:gd name="connsiteY81" fmla="*/ 974513 h 1691232"/>
                  <a:gd name="connsiteX82" fmla="*/ 1643536 w 1920955"/>
                  <a:gd name="connsiteY82" fmla="*/ 941176 h 1691232"/>
                  <a:gd name="connsiteX83" fmla="*/ 1605436 w 1920955"/>
                  <a:gd name="connsiteY83" fmla="*/ 884026 h 1691232"/>
                  <a:gd name="connsiteX84" fmla="*/ 1557811 w 1920955"/>
                  <a:gd name="connsiteY84" fmla="*/ 836401 h 1691232"/>
                  <a:gd name="connsiteX85" fmla="*/ 1505424 w 1920955"/>
                  <a:gd name="connsiteY85" fmla="*/ 817351 h 1691232"/>
                  <a:gd name="connsiteX86" fmla="*/ 1453036 w 1920955"/>
                  <a:gd name="connsiteY86" fmla="*/ 812588 h 1691232"/>
                  <a:gd name="connsiteX87" fmla="*/ 1510186 w 1920955"/>
                  <a:gd name="connsiteY87" fmla="*/ 779251 h 1691232"/>
                  <a:gd name="connsiteX88" fmla="*/ 1476849 w 1920955"/>
                  <a:gd name="connsiteY88" fmla="*/ 745913 h 1691232"/>
                  <a:gd name="connsiteX89" fmla="*/ 1481611 w 1920955"/>
                  <a:gd name="connsiteY89" fmla="*/ 722101 h 1691232"/>
                  <a:gd name="connsiteX90" fmla="*/ 1572099 w 1920955"/>
                  <a:gd name="connsiteY90" fmla="*/ 760201 h 1691232"/>
                  <a:gd name="connsiteX91" fmla="*/ 1624486 w 1920955"/>
                  <a:gd name="connsiteY91" fmla="*/ 693526 h 1691232"/>
                  <a:gd name="connsiteX92" fmla="*/ 1614961 w 1920955"/>
                  <a:gd name="connsiteY92" fmla="*/ 550651 h 1691232"/>
                  <a:gd name="connsiteX93" fmla="*/ 1610199 w 1920955"/>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28257 w 1920409"/>
                  <a:gd name="connsiteY72" fmla="*/ 1328265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409"/>
                  <a:gd name="connsiteY0" fmla="*/ 412538 h 1691232"/>
                  <a:gd name="connsiteX1" fmla="*/ 1567336 w 1920409"/>
                  <a:gd name="connsiteY1" fmla="*/ 369676 h 1691232"/>
                  <a:gd name="connsiteX2" fmla="*/ 1467324 w 1920409"/>
                  <a:gd name="connsiteY2" fmla="*/ 345863 h 1691232"/>
                  <a:gd name="connsiteX3" fmla="*/ 1419699 w 1920409"/>
                  <a:gd name="connsiteY3" fmla="*/ 317288 h 1691232"/>
                  <a:gd name="connsiteX4" fmla="*/ 1367311 w 1920409"/>
                  <a:gd name="connsiteY4" fmla="*/ 160126 h 1691232"/>
                  <a:gd name="connsiteX5" fmla="*/ 1338736 w 1920409"/>
                  <a:gd name="connsiteY5" fmla="*/ 12488 h 1691232"/>
                  <a:gd name="connsiteX6" fmla="*/ 1267299 w 1920409"/>
                  <a:gd name="connsiteY6" fmla="*/ 12488 h 1691232"/>
                  <a:gd name="connsiteX7" fmla="*/ 1214911 w 1920409"/>
                  <a:gd name="connsiteY7" fmla="*/ 50588 h 1691232"/>
                  <a:gd name="connsiteX8" fmla="*/ 1214911 w 1920409"/>
                  <a:gd name="connsiteY8" fmla="*/ 155363 h 1691232"/>
                  <a:gd name="connsiteX9" fmla="*/ 1186336 w 1920409"/>
                  <a:gd name="connsiteY9" fmla="*/ 183938 h 1691232"/>
                  <a:gd name="connsiteX10" fmla="*/ 1176811 w 1920409"/>
                  <a:gd name="connsiteY10" fmla="*/ 255376 h 1691232"/>
                  <a:gd name="connsiteX11" fmla="*/ 1114899 w 1920409"/>
                  <a:gd name="connsiteY11" fmla="*/ 298238 h 1691232"/>
                  <a:gd name="connsiteX12" fmla="*/ 1005361 w 1920409"/>
                  <a:gd name="connsiteY12" fmla="*/ 312526 h 1691232"/>
                  <a:gd name="connsiteX13" fmla="*/ 962499 w 1920409"/>
                  <a:gd name="connsiteY13" fmla="*/ 355388 h 1691232"/>
                  <a:gd name="connsiteX14" fmla="*/ 838674 w 1920409"/>
                  <a:gd name="connsiteY14" fmla="*/ 355388 h 1691232"/>
                  <a:gd name="connsiteX15" fmla="*/ 781524 w 1920409"/>
                  <a:gd name="connsiteY15" fmla="*/ 426826 h 1691232"/>
                  <a:gd name="connsiteX16" fmla="*/ 781524 w 1920409"/>
                  <a:gd name="connsiteY16" fmla="*/ 460163 h 1691232"/>
                  <a:gd name="connsiteX17" fmla="*/ 743424 w 1920409"/>
                  <a:gd name="connsiteY17" fmla="*/ 483976 h 1691232"/>
                  <a:gd name="connsiteX18" fmla="*/ 671986 w 1920409"/>
                  <a:gd name="connsiteY18" fmla="*/ 417301 h 1691232"/>
                  <a:gd name="connsiteX19" fmla="*/ 519586 w 1920409"/>
                  <a:gd name="connsiteY19" fmla="*/ 412538 h 1691232"/>
                  <a:gd name="connsiteX20" fmla="*/ 457674 w 1920409"/>
                  <a:gd name="connsiteY20" fmla="*/ 431588 h 1691232"/>
                  <a:gd name="connsiteX21" fmla="*/ 419574 w 1920409"/>
                  <a:gd name="connsiteY21" fmla="*/ 417301 h 1691232"/>
                  <a:gd name="connsiteX22" fmla="*/ 400524 w 1920409"/>
                  <a:gd name="connsiteY22" fmla="*/ 355388 h 1691232"/>
                  <a:gd name="connsiteX23" fmla="*/ 333849 w 1920409"/>
                  <a:gd name="connsiteY23" fmla="*/ 303001 h 1691232"/>
                  <a:gd name="connsiteX24" fmla="*/ 286224 w 1920409"/>
                  <a:gd name="connsiteY24" fmla="*/ 236326 h 1691232"/>
                  <a:gd name="connsiteX25" fmla="*/ 143349 w 1920409"/>
                  <a:gd name="connsiteY25" fmla="*/ 255376 h 1691232"/>
                  <a:gd name="connsiteX26" fmla="*/ 124299 w 1920409"/>
                  <a:gd name="connsiteY26" fmla="*/ 331576 h 1691232"/>
                  <a:gd name="connsiteX27" fmla="*/ 110011 w 1920409"/>
                  <a:gd name="connsiteY27" fmla="*/ 364913 h 1691232"/>
                  <a:gd name="connsiteX28" fmla="*/ 133824 w 1920409"/>
                  <a:gd name="connsiteY28" fmla="*/ 412538 h 1691232"/>
                  <a:gd name="connsiteX29" fmla="*/ 81436 w 1920409"/>
                  <a:gd name="connsiteY29" fmla="*/ 450638 h 1691232"/>
                  <a:gd name="connsiteX30" fmla="*/ 33811 w 1920409"/>
                  <a:gd name="connsiteY30" fmla="*/ 445876 h 1691232"/>
                  <a:gd name="connsiteX31" fmla="*/ 33811 w 1920409"/>
                  <a:gd name="connsiteY31" fmla="*/ 517313 h 1691232"/>
                  <a:gd name="connsiteX32" fmla="*/ 474 w 1920409"/>
                  <a:gd name="connsiteY32" fmla="*/ 622088 h 1691232"/>
                  <a:gd name="connsiteX33" fmla="*/ 62386 w 1920409"/>
                  <a:gd name="connsiteY33" fmla="*/ 698288 h 1691232"/>
                  <a:gd name="connsiteX34" fmla="*/ 111977 w 1920409"/>
                  <a:gd name="connsiteY34" fmla="*/ 678550 h 1691232"/>
                  <a:gd name="connsiteX35" fmla="*/ 112334 w 1920409"/>
                  <a:gd name="connsiteY35" fmla="*/ 748809 h 1691232"/>
                  <a:gd name="connsiteX36" fmla="*/ 167161 w 1920409"/>
                  <a:gd name="connsiteY36" fmla="*/ 779251 h 1691232"/>
                  <a:gd name="connsiteX37" fmla="*/ 236159 w 1920409"/>
                  <a:gd name="connsiteY37" fmla="*/ 789463 h 1691232"/>
                  <a:gd name="connsiteX38" fmla="*/ 271462 w 1920409"/>
                  <a:gd name="connsiteY38" fmla="*/ 845434 h 1691232"/>
                  <a:gd name="connsiteX39" fmla="*/ 270869 w 1920409"/>
                  <a:gd name="connsiteY39" fmla="*/ 890506 h 1691232"/>
                  <a:gd name="connsiteX40" fmla="*/ 295393 w 1920409"/>
                  <a:gd name="connsiteY40" fmla="*/ 929981 h 1691232"/>
                  <a:gd name="connsiteX41" fmla="*/ 341051 w 1920409"/>
                  <a:gd name="connsiteY41" fmla="*/ 968573 h 1691232"/>
                  <a:gd name="connsiteX42" fmla="*/ 426184 w 1920409"/>
                  <a:gd name="connsiteY42" fmla="*/ 1022825 h 1691232"/>
                  <a:gd name="connsiteX43" fmla="*/ 461961 w 1920409"/>
                  <a:gd name="connsiteY43" fmla="*/ 1093918 h 1691232"/>
                  <a:gd name="connsiteX44" fmla="*/ 441064 w 1920409"/>
                  <a:gd name="connsiteY44" fmla="*/ 1163491 h 1691232"/>
                  <a:gd name="connsiteX45" fmla="*/ 519111 w 1920409"/>
                  <a:gd name="connsiteY45" fmla="*/ 1219954 h 1691232"/>
                  <a:gd name="connsiteX46" fmla="*/ 591143 w 1920409"/>
                  <a:gd name="connsiteY46" fmla="*/ 1252948 h 1691232"/>
                  <a:gd name="connsiteX47" fmla="*/ 571974 w 1920409"/>
                  <a:gd name="connsiteY47" fmla="*/ 1312651 h 1691232"/>
                  <a:gd name="connsiteX48" fmla="*/ 662461 w 1920409"/>
                  <a:gd name="connsiteY48" fmla="*/ 1465051 h 1691232"/>
                  <a:gd name="connsiteX49" fmla="*/ 755271 w 1920409"/>
                  <a:gd name="connsiteY49" fmla="*/ 1538205 h 1691232"/>
                  <a:gd name="connsiteX50" fmla="*/ 805336 w 1920409"/>
                  <a:gd name="connsiteY50" fmla="*/ 1488863 h 1691232"/>
                  <a:gd name="connsiteX51" fmla="*/ 869926 w 1920409"/>
                  <a:gd name="connsiteY51" fmla="*/ 1516260 h 1691232"/>
                  <a:gd name="connsiteX52" fmla="*/ 924399 w 1920409"/>
                  <a:gd name="connsiteY52" fmla="*/ 1484101 h 1691232"/>
                  <a:gd name="connsiteX53" fmla="*/ 941246 w 1920409"/>
                  <a:gd name="connsiteY53" fmla="*/ 1441925 h 1691232"/>
                  <a:gd name="connsiteX54" fmla="*/ 1005123 w 1920409"/>
                  <a:gd name="connsiteY54" fmla="*/ 1528337 h 1691232"/>
                  <a:gd name="connsiteX55" fmla="*/ 1050190 w 1920409"/>
                  <a:gd name="connsiteY55" fmla="*/ 1599431 h 1691232"/>
                  <a:gd name="connsiteX56" fmla="*/ 1120136 w 1920409"/>
                  <a:gd name="connsiteY56" fmla="*/ 1690950 h 1691232"/>
                  <a:gd name="connsiteX57" fmla="*/ 1151034 w 1920409"/>
                  <a:gd name="connsiteY57" fmla="*/ 1627859 h 1691232"/>
                  <a:gd name="connsiteX58" fmla="*/ 1181693 w 1920409"/>
                  <a:gd name="connsiteY58" fmla="*/ 1621379 h 1691232"/>
                  <a:gd name="connsiteX59" fmla="*/ 1224792 w 1920409"/>
                  <a:gd name="connsiteY59" fmla="*/ 1650642 h 1691232"/>
                  <a:gd name="connsiteX60" fmla="*/ 1258367 w 1920409"/>
                  <a:gd name="connsiteY60" fmla="*/ 1609988 h 1691232"/>
                  <a:gd name="connsiteX61" fmla="*/ 1277188 w 1920409"/>
                  <a:gd name="connsiteY61" fmla="*/ 1614605 h 1691232"/>
                  <a:gd name="connsiteX62" fmla="*/ 1311230 w 1920409"/>
                  <a:gd name="connsiteY62" fmla="*/ 1681082 h 1691232"/>
                  <a:gd name="connsiteX63" fmla="*/ 1367786 w 1920409"/>
                  <a:gd name="connsiteY63" fmla="*/ 1657613 h 1691232"/>
                  <a:gd name="connsiteX64" fmla="*/ 1419818 w 1920409"/>
                  <a:gd name="connsiteY64" fmla="*/ 1601492 h 1691232"/>
                  <a:gd name="connsiteX65" fmla="*/ 1470595 w 1920409"/>
                  <a:gd name="connsiteY65" fmla="*/ 1584949 h 1691232"/>
                  <a:gd name="connsiteX66" fmla="*/ 1488274 w 1920409"/>
                  <a:gd name="connsiteY66" fmla="*/ 1640771 h 1691232"/>
                  <a:gd name="connsiteX67" fmla="*/ 1558169 w 1920409"/>
                  <a:gd name="connsiteY67" fmla="*/ 1615093 h 1691232"/>
                  <a:gd name="connsiteX68" fmla="*/ 1588947 w 1920409"/>
                  <a:gd name="connsiteY68" fmla="*/ 1528337 h 1691232"/>
                  <a:gd name="connsiteX69" fmla="*/ 1670383 w 1920409"/>
                  <a:gd name="connsiteY69" fmla="*/ 1438195 h 1691232"/>
                  <a:gd name="connsiteX70" fmla="*/ 1714974 w 1920409"/>
                  <a:gd name="connsiteY70" fmla="*/ 1407065 h 1691232"/>
                  <a:gd name="connsiteX71" fmla="*/ 1743343 w 1920409"/>
                  <a:gd name="connsiteY71" fmla="*/ 1410360 h 1691232"/>
                  <a:gd name="connsiteX72" fmla="*/ 1833138 w 1920409"/>
                  <a:gd name="connsiteY72" fmla="*/ 1402304 h 1691232"/>
                  <a:gd name="connsiteX73" fmla="*/ 1877070 w 1920409"/>
                  <a:gd name="connsiteY73" fmla="*/ 1542673 h 1691232"/>
                  <a:gd name="connsiteX74" fmla="*/ 1886424 w 1920409"/>
                  <a:gd name="connsiteY74" fmla="*/ 1446001 h 1691232"/>
                  <a:gd name="connsiteX75" fmla="*/ 1919761 w 1920409"/>
                  <a:gd name="connsiteY75" fmla="*/ 1441238 h 1691232"/>
                  <a:gd name="connsiteX76" fmla="*/ 1853086 w 1920409"/>
                  <a:gd name="connsiteY76" fmla="*/ 1398376 h 1691232"/>
                  <a:gd name="connsiteX77" fmla="*/ 1853086 w 1920409"/>
                  <a:gd name="connsiteY77" fmla="*/ 1303126 h 1691232"/>
                  <a:gd name="connsiteX78" fmla="*/ 1853086 w 1920409"/>
                  <a:gd name="connsiteY78" fmla="*/ 1245976 h 1691232"/>
                  <a:gd name="connsiteX79" fmla="*/ 1810224 w 1920409"/>
                  <a:gd name="connsiteY79" fmla="*/ 1236451 h 1691232"/>
                  <a:gd name="connsiteX80" fmla="*/ 1734024 w 1920409"/>
                  <a:gd name="connsiteY80" fmla="*/ 1155488 h 1691232"/>
                  <a:gd name="connsiteX81" fmla="*/ 1695924 w 1920409"/>
                  <a:gd name="connsiteY81" fmla="*/ 974513 h 1691232"/>
                  <a:gd name="connsiteX82" fmla="*/ 1643536 w 1920409"/>
                  <a:gd name="connsiteY82" fmla="*/ 941176 h 1691232"/>
                  <a:gd name="connsiteX83" fmla="*/ 1605436 w 1920409"/>
                  <a:gd name="connsiteY83" fmla="*/ 884026 h 1691232"/>
                  <a:gd name="connsiteX84" fmla="*/ 1557811 w 1920409"/>
                  <a:gd name="connsiteY84" fmla="*/ 836401 h 1691232"/>
                  <a:gd name="connsiteX85" fmla="*/ 1505424 w 1920409"/>
                  <a:gd name="connsiteY85" fmla="*/ 817351 h 1691232"/>
                  <a:gd name="connsiteX86" fmla="*/ 1453036 w 1920409"/>
                  <a:gd name="connsiteY86" fmla="*/ 812588 h 1691232"/>
                  <a:gd name="connsiteX87" fmla="*/ 1510186 w 1920409"/>
                  <a:gd name="connsiteY87" fmla="*/ 779251 h 1691232"/>
                  <a:gd name="connsiteX88" fmla="*/ 1476849 w 1920409"/>
                  <a:gd name="connsiteY88" fmla="*/ 745913 h 1691232"/>
                  <a:gd name="connsiteX89" fmla="*/ 1481611 w 1920409"/>
                  <a:gd name="connsiteY89" fmla="*/ 722101 h 1691232"/>
                  <a:gd name="connsiteX90" fmla="*/ 1572099 w 1920409"/>
                  <a:gd name="connsiteY90" fmla="*/ 760201 h 1691232"/>
                  <a:gd name="connsiteX91" fmla="*/ 1624486 w 1920409"/>
                  <a:gd name="connsiteY91" fmla="*/ 693526 h 1691232"/>
                  <a:gd name="connsiteX92" fmla="*/ 1614961 w 1920409"/>
                  <a:gd name="connsiteY92" fmla="*/ 550651 h 1691232"/>
                  <a:gd name="connsiteX93" fmla="*/ 1610199 w 1920409"/>
                  <a:gd name="connsiteY93" fmla="*/ 412538 h 1691232"/>
                  <a:gd name="connsiteX0" fmla="*/ 1610199 w 1920650"/>
                  <a:gd name="connsiteY0" fmla="*/ 412538 h 1691232"/>
                  <a:gd name="connsiteX1" fmla="*/ 1567336 w 1920650"/>
                  <a:gd name="connsiteY1" fmla="*/ 369676 h 1691232"/>
                  <a:gd name="connsiteX2" fmla="*/ 1467324 w 1920650"/>
                  <a:gd name="connsiteY2" fmla="*/ 345863 h 1691232"/>
                  <a:gd name="connsiteX3" fmla="*/ 1419699 w 1920650"/>
                  <a:gd name="connsiteY3" fmla="*/ 317288 h 1691232"/>
                  <a:gd name="connsiteX4" fmla="*/ 1367311 w 1920650"/>
                  <a:gd name="connsiteY4" fmla="*/ 160126 h 1691232"/>
                  <a:gd name="connsiteX5" fmla="*/ 1338736 w 1920650"/>
                  <a:gd name="connsiteY5" fmla="*/ 12488 h 1691232"/>
                  <a:gd name="connsiteX6" fmla="*/ 1267299 w 1920650"/>
                  <a:gd name="connsiteY6" fmla="*/ 12488 h 1691232"/>
                  <a:gd name="connsiteX7" fmla="*/ 1214911 w 1920650"/>
                  <a:gd name="connsiteY7" fmla="*/ 50588 h 1691232"/>
                  <a:gd name="connsiteX8" fmla="*/ 1214911 w 1920650"/>
                  <a:gd name="connsiteY8" fmla="*/ 155363 h 1691232"/>
                  <a:gd name="connsiteX9" fmla="*/ 1186336 w 1920650"/>
                  <a:gd name="connsiteY9" fmla="*/ 183938 h 1691232"/>
                  <a:gd name="connsiteX10" fmla="*/ 1176811 w 1920650"/>
                  <a:gd name="connsiteY10" fmla="*/ 255376 h 1691232"/>
                  <a:gd name="connsiteX11" fmla="*/ 1114899 w 1920650"/>
                  <a:gd name="connsiteY11" fmla="*/ 298238 h 1691232"/>
                  <a:gd name="connsiteX12" fmla="*/ 1005361 w 1920650"/>
                  <a:gd name="connsiteY12" fmla="*/ 312526 h 1691232"/>
                  <a:gd name="connsiteX13" fmla="*/ 962499 w 1920650"/>
                  <a:gd name="connsiteY13" fmla="*/ 355388 h 1691232"/>
                  <a:gd name="connsiteX14" fmla="*/ 838674 w 1920650"/>
                  <a:gd name="connsiteY14" fmla="*/ 355388 h 1691232"/>
                  <a:gd name="connsiteX15" fmla="*/ 781524 w 1920650"/>
                  <a:gd name="connsiteY15" fmla="*/ 426826 h 1691232"/>
                  <a:gd name="connsiteX16" fmla="*/ 781524 w 1920650"/>
                  <a:gd name="connsiteY16" fmla="*/ 460163 h 1691232"/>
                  <a:gd name="connsiteX17" fmla="*/ 743424 w 1920650"/>
                  <a:gd name="connsiteY17" fmla="*/ 483976 h 1691232"/>
                  <a:gd name="connsiteX18" fmla="*/ 671986 w 1920650"/>
                  <a:gd name="connsiteY18" fmla="*/ 417301 h 1691232"/>
                  <a:gd name="connsiteX19" fmla="*/ 519586 w 1920650"/>
                  <a:gd name="connsiteY19" fmla="*/ 412538 h 1691232"/>
                  <a:gd name="connsiteX20" fmla="*/ 457674 w 1920650"/>
                  <a:gd name="connsiteY20" fmla="*/ 431588 h 1691232"/>
                  <a:gd name="connsiteX21" fmla="*/ 419574 w 1920650"/>
                  <a:gd name="connsiteY21" fmla="*/ 417301 h 1691232"/>
                  <a:gd name="connsiteX22" fmla="*/ 400524 w 1920650"/>
                  <a:gd name="connsiteY22" fmla="*/ 355388 h 1691232"/>
                  <a:gd name="connsiteX23" fmla="*/ 333849 w 1920650"/>
                  <a:gd name="connsiteY23" fmla="*/ 303001 h 1691232"/>
                  <a:gd name="connsiteX24" fmla="*/ 286224 w 1920650"/>
                  <a:gd name="connsiteY24" fmla="*/ 236326 h 1691232"/>
                  <a:gd name="connsiteX25" fmla="*/ 143349 w 1920650"/>
                  <a:gd name="connsiteY25" fmla="*/ 255376 h 1691232"/>
                  <a:gd name="connsiteX26" fmla="*/ 124299 w 1920650"/>
                  <a:gd name="connsiteY26" fmla="*/ 331576 h 1691232"/>
                  <a:gd name="connsiteX27" fmla="*/ 110011 w 1920650"/>
                  <a:gd name="connsiteY27" fmla="*/ 364913 h 1691232"/>
                  <a:gd name="connsiteX28" fmla="*/ 133824 w 1920650"/>
                  <a:gd name="connsiteY28" fmla="*/ 412538 h 1691232"/>
                  <a:gd name="connsiteX29" fmla="*/ 81436 w 1920650"/>
                  <a:gd name="connsiteY29" fmla="*/ 450638 h 1691232"/>
                  <a:gd name="connsiteX30" fmla="*/ 33811 w 1920650"/>
                  <a:gd name="connsiteY30" fmla="*/ 445876 h 1691232"/>
                  <a:gd name="connsiteX31" fmla="*/ 33811 w 1920650"/>
                  <a:gd name="connsiteY31" fmla="*/ 517313 h 1691232"/>
                  <a:gd name="connsiteX32" fmla="*/ 474 w 1920650"/>
                  <a:gd name="connsiteY32" fmla="*/ 622088 h 1691232"/>
                  <a:gd name="connsiteX33" fmla="*/ 62386 w 1920650"/>
                  <a:gd name="connsiteY33" fmla="*/ 698288 h 1691232"/>
                  <a:gd name="connsiteX34" fmla="*/ 111977 w 1920650"/>
                  <a:gd name="connsiteY34" fmla="*/ 678550 h 1691232"/>
                  <a:gd name="connsiteX35" fmla="*/ 112334 w 1920650"/>
                  <a:gd name="connsiteY35" fmla="*/ 748809 h 1691232"/>
                  <a:gd name="connsiteX36" fmla="*/ 167161 w 1920650"/>
                  <a:gd name="connsiteY36" fmla="*/ 779251 h 1691232"/>
                  <a:gd name="connsiteX37" fmla="*/ 236159 w 1920650"/>
                  <a:gd name="connsiteY37" fmla="*/ 789463 h 1691232"/>
                  <a:gd name="connsiteX38" fmla="*/ 271462 w 1920650"/>
                  <a:gd name="connsiteY38" fmla="*/ 845434 h 1691232"/>
                  <a:gd name="connsiteX39" fmla="*/ 270869 w 1920650"/>
                  <a:gd name="connsiteY39" fmla="*/ 890506 h 1691232"/>
                  <a:gd name="connsiteX40" fmla="*/ 295393 w 1920650"/>
                  <a:gd name="connsiteY40" fmla="*/ 929981 h 1691232"/>
                  <a:gd name="connsiteX41" fmla="*/ 341051 w 1920650"/>
                  <a:gd name="connsiteY41" fmla="*/ 968573 h 1691232"/>
                  <a:gd name="connsiteX42" fmla="*/ 426184 w 1920650"/>
                  <a:gd name="connsiteY42" fmla="*/ 1022825 h 1691232"/>
                  <a:gd name="connsiteX43" fmla="*/ 461961 w 1920650"/>
                  <a:gd name="connsiteY43" fmla="*/ 1093918 h 1691232"/>
                  <a:gd name="connsiteX44" fmla="*/ 441064 w 1920650"/>
                  <a:gd name="connsiteY44" fmla="*/ 1163491 h 1691232"/>
                  <a:gd name="connsiteX45" fmla="*/ 519111 w 1920650"/>
                  <a:gd name="connsiteY45" fmla="*/ 1219954 h 1691232"/>
                  <a:gd name="connsiteX46" fmla="*/ 591143 w 1920650"/>
                  <a:gd name="connsiteY46" fmla="*/ 1252948 h 1691232"/>
                  <a:gd name="connsiteX47" fmla="*/ 571974 w 1920650"/>
                  <a:gd name="connsiteY47" fmla="*/ 1312651 h 1691232"/>
                  <a:gd name="connsiteX48" fmla="*/ 662461 w 1920650"/>
                  <a:gd name="connsiteY48" fmla="*/ 1465051 h 1691232"/>
                  <a:gd name="connsiteX49" fmla="*/ 755271 w 1920650"/>
                  <a:gd name="connsiteY49" fmla="*/ 1538205 h 1691232"/>
                  <a:gd name="connsiteX50" fmla="*/ 805336 w 1920650"/>
                  <a:gd name="connsiteY50" fmla="*/ 1488863 h 1691232"/>
                  <a:gd name="connsiteX51" fmla="*/ 869926 w 1920650"/>
                  <a:gd name="connsiteY51" fmla="*/ 1516260 h 1691232"/>
                  <a:gd name="connsiteX52" fmla="*/ 924399 w 1920650"/>
                  <a:gd name="connsiteY52" fmla="*/ 1484101 h 1691232"/>
                  <a:gd name="connsiteX53" fmla="*/ 941246 w 1920650"/>
                  <a:gd name="connsiteY53" fmla="*/ 1441925 h 1691232"/>
                  <a:gd name="connsiteX54" fmla="*/ 1005123 w 1920650"/>
                  <a:gd name="connsiteY54" fmla="*/ 1528337 h 1691232"/>
                  <a:gd name="connsiteX55" fmla="*/ 1050190 w 1920650"/>
                  <a:gd name="connsiteY55" fmla="*/ 1599431 h 1691232"/>
                  <a:gd name="connsiteX56" fmla="*/ 1120136 w 1920650"/>
                  <a:gd name="connsiteY56" fmla="*/ 1690950 h 1691232"/>
                  <a:gd name="connsiteX57" fmla="*/ 1151034 w 1920650"/>
                  <a:gd name="connsiteY57" fmla="*/ 1627859 h 1691232"/>
                  <a:gd name="connsiteX58" fmla="*/ 1181693 w 1920650"/>
                  <a:gd name="connsiteY58" fmla="*/ 1621379 h 1691232"/>
                  <a:gd name="connsiteX59" fmla="*/ 1224792 w 1920650"/>
                  <a:gd name="connsiteY59" fmla="*/ 1650642 h 1691232"/>
                  <a:gd name="connsiteX60" fmla="*/ 1258367 w 1920650"/>
                  <a:gd name="connsiteY60" fmla="*/ 1609988 h 1691232"/>
                  <a:gd name="connsiteX61" fmla="*/ 1277188 w 1920650"/>
                  <a:gd name="connsiteY61" fmla="*/ 1614605 h 1691232"/>
                  <a:gd name="connsiteX62" fmla="*/ 1311230 w 1920650"/>
                  <a:gd name="connsiteY62" fmla="*/ 1681082 h 1691232"/>
                  <a:gd name="connsiteX63" fmla="*/ 1367786 w 1920650"/>
                  <a:gd name="connsiteY63" fmla="*/ 1657613 h 1691232"/>
                  <a:gd name="connsiteX64" fmla="*/ 1419818 w 1920650"/>
                  <a:gd name="connsiteY64" fmla="*/ 1601492 h 1691232"/>
                  <a:gd name="connsiteX65" fmla="*/ 1470595 w 1920650"/>
                  <a:gd name="connsiteY65" fmla="*/ 1584949 h 1691232"/>
                  <a:gd name="connsiteX66" fmla="*/ 1488274 w 1920650"/>
                  <a:gd name="connsiteY66" fmla="*/ 1640771 h 1691232"/>
                  <a:gd name="connsiteX67" fmla="*/ 1558169 w 1920650"/>
                  <a:gd name="connsiteY67" fmla="*/ 1615093 h 1691232"/>
                  <a:gd name="connsiteX68" fmla="*/ 1588947 w 1920650"/>
                  <a:gd name="connsiteY68" fmla="*/ 1528337 h 1691232"/>
                  <a:gd name="connsiteX69" fmla="*/ 1670383 w 1920650"/>
                  <a:gd name="connsiteY69" fmla="*/ 1438195 h 1691232"/>
                  <a:gd name="connsiteX70" fmla="*/ 1714974 w 1920650"/>
                  <a:gd name="connsiteY70" fmla="*/ 1407065 h 1691232"/>
                  <a:gd name="connsiteX71" fmla="*/ 1743343 w 1920650"/>
                  <a:gd name="connsiteY71" fmla="*/ 1410360 h 1691232"/>
                  <a:gd name="connsiteX72" fmla="*/ 1833138 w 1920650"/>
                  <a:gd name="connsiteY72" fmla="*/ 1402304 h 1691232"/>
                  <a:gd name="connsiteX73" fmla="*/ 1816054 w 1920650"/>
                  <a:gd name="connsiteY73" fmla="*/ 1453316 h 1691232"/>
                  <a:gd name="connsiteX74" fmla="*/ 1886424 w 1920650"/>
                  <a:gd name="connsiteY74" fmla="*/ 1446001 h 1691232"/>
                  <a:gd name="connsiteX75" fmla="*/ 1919761 w 1920650"/>
                  <a:gd name="connsiteY75" fmla="*/ 1441238 h 1691232"/>
                  <a:gd name="connsiteX76" fmla="*/ 1853086 w 1920650"/>
                  <a:gd name="connsiteY76" fmla="*/ 1398376 h 1691232"/>
                  <a:gd name="connsiteX77" fmla="*/ 1853086 w 1920650"/>
                  <a:gd name="connsiteY77" fmla="*/ 1303126 h 1691232"/>
                  <a:gd name="connsiteX78" fmla="*/ 1853086 w 1920650"/>
                  <a:gd name="connsiteY78" fmla="*/ 1245976 h 1691232"/>
                  <a:gd name="connsiteX79" fmla="*/ 1810224 w 1920650"/>
                  <a:gd name="connsiteY79" fmla="*/ 1236451 h 1691232"/>
                  <a:gd name="connsiteX80" fmla="*/ 1734024 w 1920650"/>
                  <a:gd name="connsiteY80" fmla="*/ 1155488 h 1691232"/>
                  <a:gd name="connsiteX81" fmla="*/ 1695924 w 1920650"/>
                  <a:gd name="connsiteY81" fmla="*/ 974513 h 1691232"/>
                  <a:gd name="connsiteX82" fmla="*/ 1643536 w 1920650"/>
                  <a:gd name="connsiteY82" fmla="*/ 941176 h 1691232"/>
                  <a:gd name="connsiteX83" fmla="*/ 1605436 w 1920650"/>
                  <a:gd name="connsiteY83" fmla="*/ 884026 h 1691232"/>
                  <a:gd name="connsiteX84" fmla="*/ 1557811 w 1920650"/>
                  <a:gd name="connsiteY84" fmla="*/ 836401 h 1691232"/>
                  <a:gd name="connsiteX85" fmla="*/ 1505424 w 1920650"/>
                  <a:gd name="connsiteY85" fmla="*/ 817351 h 1691232"/>
                  <a:gd name="connsiteX86" fmla="*/ 1453036 w 1920650"/>
                  <a:gd name="connsiteY86" fmla="*/ 812588 h 1691232"/>
                  <a:gd name="connsiteX87" fmla="*/ 1510186 w 1920650"/>
                  <a:gd name="connsiteY87" fmla="*/ 779251 h 1691232"/>
                  <a:gd name="connsiteX88" fmla="*/ 1476849 w 1920650"/>
                  <a:gd name="connsiteY88" fmla="*/ 745913 h 1691232"/>
                  <a:gd name="connsiteX89" fmla="*/ 1481611 w 1920650"/>
                  <a:gd name="connsiteY89" fmla="*/ 722101 h 1691232"/>
                  <a:gd name="connsiteX90" fmla="*/ 1572099 w 1920650"/>
                  <a:gd name="connsiteY90" fmla="*/ 760201 h 1691232"/>
                  <a:gd name="connsiteX91" fmla="*/ 1624486 w 1920650"/>
                  <a:gd name="connsiteY91" fmla="*/ 693526 h 1691232"/>
                  <a:gd name="connsiteX92" fmla="*/ 1614961 w 1920650"/>
                  <a:gd name="connsiteY92" fmla="*/ 550651 h 1691232"/>
                  <a:gd name="connsiteX93" fmla="*/ 1610199 w 1920650"/>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33138 w 1920031"/>
                  <a:gd name="connsiteY72" fmla="*/ 1402304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920031"/>
                  <a:gd name="connsiteY0" fmla="*/ 412538 h 1691232"/>
                  <a:gd name="connsiteX1" fmla="*/ 1567336 w 1920031"/>
                  <a:gd name="connsiteY1" fmla="*/ 369676 h 1691232"/>
                  <a:gd name="connsiteX2" fmla="*/ 1467324 w 1920031"/>
                  <a:gd name="connsiteY2" fmla="*/ 345863 h 1691232"/>
                  <a:gd name="connsiteX3" fmla="*/ 1419699 w 1920031"/>
                  <a:gd name="connsiteY3" fmla="*/ 317288 h 1691232"/>
                  <a:gd name="connsiteX4" fmla="*/ 1367311 w 1920031"/>
                  <a:gd name="connsiteY4" fmla="*/ 160126 h 1691232"/>
                  <a:gd name="connsiteX5" fmla="*/ 1338736 w 1920031"/>
                  <a:gd name="connsiteY5" fmla="*/ 12488 h 1691232"/>
                  <a:gd name="connsiteX6" fmla="*/ 1267299 w 1920031"/>
                  <a:gd name="connsiteY6" fmla="*/ 12488 h 1691232"/>
                  <a:gd name="connsiteX7" fmla="*/ 1214911 w 1920031"/>
                  <a:gd name="connsiteY7" fmla="*/ 50588 h 1691232"/>
                  <a:gd name="connsiteX8" fmla="*/ 1214911 w 1920031"/>
                  <a:gd name="connsiteY8" fmla="*/ 155363 h 1691232"/>
                  <a:gd name="connsiteX9" fmla="*/ 1186336 w 1920031"/>
                  <a:gd name="connsiteY9" fmla="*/ 183938 h 1691232"/>
                  <a:gd name="connsiteX10" fmla="*/ 1176811 w 1920031"/>
                  <a:gd name="connsiteY10" fmla="*/ 255376 h 1691232"/>
                  <a:gd name="connsiteX11" fmla="*/ 1114899 w 1920031"/>
                  <a:gd name="connsiteY11" fmla="*/ 298238 h 1691232"/>
                  <a:gd name="connsiteX12" fmla="*/ 1005361 w 1920031"/>
                  <a:gd name="connsiteY12" fmla="*/ 312526 h 1691232"/>
                  <a:gd name="connsiteX13" fmla="*/ 962499 w 1920031"/>
                  <a:gd name="connsiteY13" fmla="*/ 355388 h 1691232"/>
                  <a:gd name="connsiteX14" fmla="*/ 838674 w 1920031"/>
                  <a:gd name="connsiteY14" fmla="*/ 355388 h 1691232"/>
                  <a:gd name="connsiteX15" fmla="*/ 781524 w 1920031"/>
                  <a:gd name="connsiteY15" fmla="*/ 426826 h 1691232"/>
                  <a:gd name="connsiteX16" fmla="*/ 781524 w 1920031"/>
                  <a:gd name="connsiteY16" fmla="*/ 460163 h 1691232"/>
                  <a:gd name="connsiteX17" fmla="*/ 743424 w 1920031"/>
                  <a:gd name="connsiteY17" fmla="*/ 483976 h 1691232"/>
                  <a:gd name="connsiteX18" fmla="*/ 671986 w 1920031"/>
                  <a:gd name="connsiteY18" fmla="*/ 417301 h 1691232"/>
                  <a:gd name="connsiteX19" fmla="*/ 519586 w 1920031"/>
                  <a:gd name="connsiteY19" fmla="*/ 412538 h 1691232"/>
                  <a:gd name="connsiteX20" fmla="*/ 457674 w 1920031"/>
                  <a:gd name="connsiteY20" fmla="*/ 431588 h 1691232"/>
                  <a:gd name="connsiteX21" fmla="*/ 419574 w 1920031"/>
                  <a:gd name="connsiteY21" fmla="*/ 417301 h 1691232"/>
                  <a:gd name="connsiteX22" fmla="*/ 400524 w 1920031"/>
                  <a:gd name="connsiteY22" fmla="*/ 355388 h 1691232"/>
                  <a:gd name="connsiteX23" fmla="*/ 333849 w 1920031"/>
                  <a:gd name="connsiteY23" fmla="*/ 303001 h 1691232"/>
                  <a:gd name="connsiteX24" fmla="*/ 286224 w 1920031"/>
                  <a:gd name="connsiteY24" fmla="*/ 236326 h 1691232"/>
                  <a:gd name="connsiteX25" fmla="*/ 143349 w 1920031"/>
                  <a:gd name="connsiteY25" fmla="*/ 255376 h 1691232"/>
                  <a:gd name="connsiteX26" fmla="*/ 124299 w 1920031"/>
                  <a:gd name="connsiteY26" fmla="*/ 331576 h 1691232"/>
                  <a:gd name="connsiteX27" fmla="*/ 110011 w 1920031"/>
                  <a:gd name="connsiteY27" fmla="*/ 364913 h 1691232"/>
                  <a:gd name="connsiteX28" fmla="*/ 133824 w 1920031"/>
                  <a:gd name="connsiteY28" fmla="*/ 412538 h 1691232"/>
                  <a:gd name="connsiteX29" fmla="*/ 81436 w 1920031"/>
                  <a:gd name="connsiteY29" fmla="*/ 450638 h 1691232"/>
                  <a:gd name="connsiteX30" fmla="*/ 33811 w 1920031"/>
                  <a:gd name="connsiteY30" fmla="*/ 445876 h 1691232"/>
                  <a:gd name="connsiteX31" fmla="*/ 33811 w 1920031"/>
                  <a:gd name="connsiteY31" fmla="*/ 517313 h 1691232"/>
                  <a:gd name="connsiteX32" fmla="*/ 474 w 1920031"/>
                  <a:gd name="connsiteY32" fmla="*/ 622088 h 1691232"/>
                  <a:gd name="connsiteX33" fmla="*/ 62386 w 1920031"/>
                  <a:gd name="connsiteY33" fmla="*/ 698288 h 1691232"/>
                  <a:gd name="connsiteX34" fmla="*/ 111977 w 1920031"/>
                  <a:gd name="connsiteY34" fmla="*/ 678550 h 1691232"/>
                  <a:gd name="connsiteX35" fmla="*/ 112334 w 1920031"/>
                  <a:gd name="connsiteY35" fmla="*/ 748809 h 1691232"/>
                  <a:gd name="connsiteX36" fmla="*/ 167161 w 1920031"/>
                  <a:gd name="connsiteY36" fmla="*/ 779251 h 1691232"/>
                  <a:gd name="connsiteX37" fmla="*/ 236159 w 1920031"/>
                  <a:gd name="connsiteY37" fmla="*/ 789463 h 1691232"/>
                  <a:gd name="connsiteX38" fmla="*/ 271462 w 1920031"/>
                  <a:gd name="connsiteY38" fmla="*/ 845434 h 1691232"/>
                  <a:gd name="connsiteX39" fmla="*/ 270869 w 1920031"/>
                  <a:gd name="connsiteY39" fmla="*/ 890506 h 1691232"/>
                  <a:gd name="connsiteX40" fmla="*/ 295393 w 1920031"/>
                  <a:gd name="connsiteY40" fmla="*/ 929981 h 1691232"/>
                  <a:gd name="connsiteX41" fmla="*/ 341051 w 1920031"/>
                  <a:gd name="connsiteY41" fmla="*/ 968573 h 1691232"/>
                  <a:gd name="connsiteX42" fmla="*/ 426184 w 1920031"/>
                  <a:gd name="connsiteY42" fmla="*/ 1022825 h 1691232"/>
                  <a:gd name="connsiteX43" fmla="*/ 461961 w 1920031"/>
                  <a:gd name="connsiteY43" fmla="*/ 1093918 h 1691232"/>
                  <a:gd name="connsiteX44" fmla="*/ 441064 w 1920031"/>
                  <a:gd name="connsiteY44" fmla="*/ 1163491 h 1691232"/>
                  <a:gd name="connsiteX45" fmla="*/ 519111 w 1920031"/>
                  <a:gd name="connsiteY45" fmla="*/ 1219954 h 1691232"/>
                  <a:gd name="connsiteX46" fmla="*/ 591143 w 1920031"/>
                  <a:gd name="connsiteY46" fmla="*/ 1252948 h 1691232"/>
                  <a:gd name="connsiteX47" fmla="*/ 571974 w 1920031"/>
                  <a:gd name="connsiteY47" fmla="*/ 1312651 h 1691232"/>
                  <a:gd name="connsiteX48" fmla="*/ 662461 w 1920031"/>
                  <a:gd name="connsiteY48" fmla="*/ 1465051 h 1691232"/>
                  <a:gd name="connsiteX49" fmla="*/ 755271 w 1920031"/>
                  <a:gd name="connsiteY49" fmla="*/ 1538205 h 1691232"/>
                  <a:gd name="connsiteX50" fmla="*/ 805336 w 1920031"/>
                  <a:gd name="connsiteY50" fmla="*/ 1488863 h 1691232"/>
                  <a:gd name="connsiteX51" fmla="*/ 869926 w 1920031"/>
                  <a:gd name="connsiteY51" fmla="*/ 1516260 h 1691232"/>
                  <a:gd name="connsiteX52" fmla="*/ 924399 w 1920031"/>
                  <a:gd name="connsiteY52" fmla="*/ 1484101 h 1691232"/>
                  <a:gd name="connsiteX53" fmla="*/ 941246 w 1920031"/>
                  <a:gd name="connsiteY53" fmla="*/ 1441925 h 1691232"/>
                  <a:gd name="connsiteX54" fmla="*/ 1005123 w 1920031"/>
                  <a:gd name="connsiteY54" fmla="*/ 1528337 h 1691232"/>
                  <a:gd name="connsiteX55" fmla="*/ 1050190 w 1920031"/>
                  <a:gd name="connsiteY55" fmla="*/ 1599431 h 1691232"/>
                  <a:gd name="connsiteX56" fmla="*/ 1120136 w 1920031"/>
                  <a:gd name="connsiteY56" fmla="*/ 1690950 h 1691232"/>
                  <a:gd name="connsiteX57" fmla="*/ 1151034 w 1920031"/>
                  <a:gd name="connsiteY57" fmla="*/ 1627859 h 1691232"/>
                  <a:gd name="connsiteX58" fmla="*/ 1181693 w 1920031"/>
                  <a:gd name="connsiteY58" fmla="*/ 1621379 h 1691232"/>
                  <a:gd name="connsiteX59" fmla="*/ 1224792 w 1920031"/>
                  <a:gd name="connsiteY59" fmla="*/ 1650642 h 1691232"/>
                  <a:gd name="connsiteX60" fmla="*/ 1258367 w 1920031"/>
                  <a:gd name="connsiteY60" fmla="*/ 1609988 h 1691232"/>
                  <a:gd name="connsiteX61" fmla="*/ 1277188 w 1920031"/>
                  <a:gd name="connsiteY61" fmla="*/ 1614605 h 1691232"/>
                  <a:gd name="connsiteX62" fmla="*/ 1311230 w 1920031"/>
                  <a:gd name="connsiteY62" fmla="*/ 1681082 h 1691232"/>
                  <a:gd name="connsiteX63" fmla="*/ 1367786 w 1920031"/>
                  <a:gd name="connsiteY63" fmla="*/ 1657613 h 1691232"/>
                  <a:gd name="connsiteX64" fmla="*/ 1419818 w 1920031"/>
                  <a:gd name="connsiteY64" fmla="*/ 1601492 h 1691232"/>
                  <a:gd name="connsiteX65" fmla="*/ 1470595 w 1920031"/>
                  <a:gd name="connsiteY65" fmla="*/ 1584949 h 1691232"/>
                  <a:gd name="connsiteX66" fmla="*/ 1488274 w 1920031"/>
                  <a:gd name="connsiteY66" fmla="*/ 1640771 h 1691232"/>
                  <a:gd name="connsiteX67" fmla="*/ 1558169 w 1920031"/>
                  <a:gd name="connsiteY67" fmla="*/ 1615093 h 1691232"/>
                  <a:gd name="connsiteX68" fmla="*/ 1588947 w 1920031"/>
                  <a:gd name="connsiteY68" fmla="*/ 1528337 h 1691232"/>
                  <a:gd name="connsiteX69" fmla="*/ 1670383 w 1920031"/>
                  <a:gd name="connsiteY69" fmla="*/ 1438195 h 1691232"/>
                  <a:gd name="connsiteX70" fmla="*/ 1714974 w 1920031"/>
                  <a:gd name="connsiteY70" fmla="*/ 1407065 h 1691232"/>
                  <a:gd name="connsiteX71" fmla="*/ 1743343 w 1920031"/>
                  <a:gd name="connsiteY71" fmla="*/ 1410360 h 1691232"/>
                  <a:gd name="connsiteX72" fmla="*/ 1820935 w 1920031"/>
                  <a:gd name="connsiteY72" fmla="*/ 1399752 h 1691232"/>
                  <a:gd name="connsiteX73" fmla="*/ 1816054 w 1920031"/>
                  <a:gd name="connsiteY73" fmla="*/ 1453316 h 1691232"/>
                  <a:gd name="connsiteX74" fmla="*/ 1874221 w 1920031"/>
                  <a:gd name="connsiteY74" fmla="*/ 1476637 h 1691232"/>
                  <a:gd name="connsiteX75" fmla="*/ 1919761 w 1920031"/>
                  <a:gd name="connsiteY75" fmla="*/ 1441238 h 1691232"/>
                  <a:gd name="connsiteX76" fmla="*/ 1853086 w 1920031"/>
                  <a:gd name="connsiteY76" fmla="*/ 1398376 h 1691232"/>
                  <a:gd name="connsiteX77" fmla="*/ 1853086 w 1920031"/>
                  <a:gd name="connsiteY77" fmla="*/ 1303126 h 1691232"/>
                  <a:gd name="connsiteX78" fmla="*/ 1853086 w 1920031"/>
                  <a:gd name="connsiteY78" fmla="*/ 1245976 h 1691232"/>
                  <a:gd name="connsiteX79" fmla="*/ 1810224 w 1920031"/>
                  <a:gd name="connsiteY79" fmla="*/ 1236451 h 1691232"/>
                  <a:gd name="connsiteX80" fmla="*/ 1734024 w 1920031"/>
                  <a:gd name="connsiteY80" fmla="*/ 1155488 h 1691232"/>
                  <a:gd name="connsiteX81" fmla="*/ 1695924 w 1920031"/>
                  <a:gd name="connsiteY81" fmla="*/ 974513 h 1691232"/>
                  <a:gd name="connsiteX82" fmla="*/ 1643536 w 1920031"/>
                  <a:gd name="connsiteY82" fmla="*/ 941176 h 1691232"/>
                  <a:gd name="connsiteX83" fmla="*/ 1605436 w 1920031"/>
                  <a:gd name="connsiteY83" fmla="*/ 884026 h 1691232"/>
                  <a:gd name="connsiteX84" fmla="*/ 1557811 w 1920031"/>
                  <a:gd name="connsiteY84" fmla="*/ 836401 h 1691232"/>
                  <a:gd name="connsiteX85" fmla="*/ 1505424 w 1920031"/>
                  <a:gd name="connsiteY85" fmla="*/ 817351 h 1691232"/>
                  <a:gd name="connsiteX86" fmla="*/ 1453036 w 1920031"/>
                  <a:gd name="connsiteY86" fmla="*/ 812588 h 1691232"/>
                  <a:gd name="connsiteX87" fmla="*/ 1510186 w 1920031"/>
                  <a:gd name="connsiteY87" fmla="*/ 779251 h 1691232"/>
                  <a:gd name="connsiteX88" fmla="*/ 1476849 w 1920031"/>
                  <a:gd name="connsiteY88" fmla="*/ 745913 h 1691232"/>
                  <a:gd name="connsiteX89" fmla="*/ 1481611 w 1920031"/>
                  <a:gd name="connsiteY89" fmla="*/ 722101 h 1691232"/>
                  <a:gd name="connsiteX90" fmla="*/ 1572099 w 1920031"/>
                  <a:gd name="connsiteY90" fmla="*/ 760201 h 1691232"/>
                  <a:gd name="connsiteX91" fmla="*/ 1624486 w 1920031"/>
                  <a:gd name="connsiteY91" fmla="*/ 693526 h 1691232"/>
                  <a:gd name="connsiteX92" fmla="*/ 1614961 w 1920031"/>
                  <a:gd name="connsiteY92" fmla="*/ 550651 h 1691232"/>
                  <a:gd name="connsiteX93" fmla="*/ 1610199 w 1920031"/>
                  <a:gd name="connsiteY93" fmla="*/ 412538 h 1691232"/>
                  <a:gd name="connsiteX0" fmla="*/ 1610199 w 1880151"/>
                  <a:gd name="connsiteY0" fmla="*/ 412538 h 1691232"/>
                  <a:gd name="connsiteX1" fmla="*/ 1567336 w 1880151"/>
                  <a:gd name="connsiteY1" fmla="*/ 369676 h 1691232"/>
                  <a:gd name="connsiteX2" fmla="*/ 1467324 w 1880151"/>
                  <a:gd name="connsiteY2" fmla="*/ 345863 h 1691232"/>
                  <a:gd name="connsiteX3" fmla="*/ 1419699 w 1880151"/>
                  <a:gd name="connsiteY3" fmla="*/ 317288 h 1691232"/>
                  <a:gd name="connsiteX4" fmla="*/ 1367311 w 1880151"/>
                  <a:gd name="connsiteY4" fmla="*/ 160126 h 1691232"/>
                  <a:gd name="connsiteX5" fmla="*/ 1338736 w 1880151"/>
                  <a:gd name="connsiteY5" fmla="*/ 12488 h 1691232"/>
                  <a:gd name="connsiteX6" fmla="*/ 1267299 w 1880151"/>
                  <a:gd name="connsiteY6" fmla="*/ 12488 h 1691232"/>
                  <a:gd name="connsiteX7" fmla="*/ 1214911 w 1880151"/>
                  <a:gd name="connsiteY7" fmla="*/ 50588 h 1691232"/>
                  <a:gd name="connsiteX8" fmla="*/ 1214911 w 1880151"/>
                  <a:gd name="connsiteY8" fmla="*/ 155363 h 1691232"/>
                  <a:gd name="connsiteX9" fmla="*/ 1186336 w 1880151"/>
                  <a:gd name="connsiteY9" fmla="*/ 183938 h 1691232"/>
                  <a:gd name="connsiteX10" fmla="*/ 1176811 w 1880151"/>
                  <a:gd name="connsiteY10" fmla="*/ 255376 h 1691232"/>
                  <a:gd name="connsiteX11" fmla="*/ 1114899 w 1880151"/>
                  <a:gd name="connsiteY11" fmla="*/ 298238 h 1691232"/>
                  <a:gd name="connsiteX12" fmla="*/ 1005361 w 1880151"/>
                  <a:gd name="connsiteY12" fmla="*/ 312526 h 1691232"/>
                  <a:gd name="connsiteX13" fmla="*/ 962499 w 1880151"/>
                  <a:gd name="connsiteY13" fmla="*/ 355388 h 1691232"/>
                  <a:gd name="connsiteX14" fmla="*/ 838674 w 1880151"/>
                  <a:gd name="connsiteY14" fmla="*/ 355388 h 1691232"/>
                  <a:gd name="connsiteX15" fmla="*/ 781524 w 1880151"/>
                  <a:gd name="connsiteY15" fmla="*/ 426826 h 1691232"/>
                  <a:gd name="connsiteX16" fmla="*/ 781524 w 1880151"/>
                  <a:gd name="connsiteY16" fmla="*/ 460163 h 1691232"/>
                  <a:gd name="connsiteX17" fmla="*/ 743424 w 1880151"/>
                  <a:gd name="connsiteY17" fmla="*/ 483976 h 1691232"/>
                  <a:gd name="connsiteX18" fmla="*/ 671986 w 1880151"/>
                  <a:gd name="connsiteY18" fmla="*/ 417301 h 1691232"/>
                  <a:gd name="connsiteX19" fmla="*/ 519586 w 1880151"/>
                  <a:gd name="connsiteY19" fmla="*/ 412538 h 1691232"/>
                  <a:gd name="connsiteX20" fmla="*/ 457674 w 1880151"/>
                  <a:gd name="connsiteY20" fmla="*/ 431588 h 1691232"/>
                  <a:gd name="connsiteX21" fmla="*/ 419574 w 1880151"/>
                  <a:gd name="connsiteY21" fmla="*/ 417301 h 1691232"/>
                  <a:gd name="connsiteX22" fmla="*/ 400524 w 1880151"/>
                  <a:gd name="connsiteY22" fmla="*/ 355388 h 1691232"/>
                  <a:gd name="connsiteX23" fmla="*/ 333849 w 1880151"/>
                  <a:gd name="connsiteY23" fmla="*/ 303001 h 1691232"/>
                  <a:gd name="connsiteX24" fmla="*/ 286224 w 1880151"/>
                  <a:gd name="connsiteY24" fmla="*/ 236326 h 1691232"/>
                  <a:gd name="connsiteX25" fmla="*/ 143349 w 1880151"/>
                  <a:gd name="connsiteY25" fmla="*/ 255376 h 1691232"/>
                  <a:gd name="connsiteX26" fmla="*/ 124299 w 1880151"/>
                  <a:gd name="connsiteY26" fmla="*/ 331576 h 1691232"/>
                  <a:gd name="connsiteX27" fmla="*/ 110011 w 1880151"/>
                  <a:gd name="connsiteY27" fmla="*/ 364913 h 1691232"/>
                  <a:gd name="connsiteX28" fmla="*/ 133824 w 1880151"/>
                  <a:gd name="connsiteY28" fmla="*/ 412538 h 1691232"/>
                  <a:gd name="connsiteX29" fmla="*/ 81436 w 1880151"/>
                  <a:gd name="connsiteY29" fmla="*/ 450638 h 1691232"/>
                  <a:gd name="connsiteX30" fmla="*/ 33811 w 1880151"/>
                  <a:gd name="connsiteY30" fmla="*/ 445876 h 1691232"/>
                  <a:gd name="connsiteX31" fmla="*/ 33811 w 1880151"/>
                  <a:gd name="connsiteY31" fmla="*/ 517313 h 1691232"/>
                  <a:gd name="connsiteX32" fmla="*/ 474 w 1880151"/>
                  <a:gd name="connsiteY32" fmla="*/ 622088 h 1691232"/>
                  <a:gd name="connsiteX33" fmla="*/ 62386 w 1880151"/>
                  <a:gd name="connsiteY33" fmla="*/ 698288 h 1691232"/>
                  <a:gd name="connsiteX34" fmla="*/ 111977 w 1880151"/>
                  <a:gd name="connsiteY34" fmla="*/ 678550 h 1691232"/>
                  <a:gd name="connsiteX35" fmla="*/ 112334 w 1880151"/>
                  <a:gd name="connsiteY35" fmla="*/ 748809 h 1691232"/>
                  <a:gd name="connsiteX36" fmla="*/ 167161 w 1880151"/>
                  <a:gd name="connsiteY36" fmla="*/ 779251 h 1691232"/>
                  <a:gd name="connsiteX37" fmla="*/ 236159 w 1880151"/>
                  <a:gd name="connsiteY37" fmla="*/ 789463 h 1691232"/>
                  <a:gd name="connsiteX38" fmla="*/ 271462 w 1880151"/>
                  <a:gd name="connsiteY38" fmla="*/ 845434 h 1691232"/>
                  <a:gd name="connsiteX39" fmla="*/ 270869 w 1880151"/>
                  <a:gd name="connsiteY39" fmla="*/ 890506 h 1691232"/>
                  <a:gd name="connsiteX40" fmla="*/ 295393 w 1880151"/>
                  <a:gd name="connsiteY40" fmla="*/ 929981 h 1691232"/>
                  <a:gd name="connsiteX41" fmla="*/ 341051 w 1880151"/>
                  <a:gd name="connsiteY41" fmla="*/ 968573 h 1691232"/>
                  <a:gd name="connsiteX42" fmla="*/ 426184 w 1880151"/>
                  <a:gd name="connsiteY42" fmla="*/ 1022825 h 1691232"/>
                  <a:gd name="connsiteX43" fmla="*/ 461961 w 1880151"/>
                  <a:gd name="connsiteY43" fmla="*/ 1093918 h 1691232"/>
                  <a:gd name="connsiteX44" fmla="*/ 441064 w 1880151"/>
                  <a:gd name="connsiteY44" fmla="*/ 1163491 h 1691232"/>
                  <a:gd name="connsiteX45" fmla="*/ 519111 w 1880151"/>
                  <a:gd name="connsiteY45" fmla="*/ 1219954 h 1691232"/>
                  <a:gd name="connsiteX46" fmla="*/ 591143 w 1880151"/>
                  <a:gd name="connsiteY46" fmla="*/ 1252948 h 1691232"/>
                  <a:gd name="connsiteX47" fmla="*/ 571974 w 1880151"/>
                  <a:gd name="connsiteY47" fmla="*/ 1312651 h 1691232"/>
                  <a:gd name="connsiteX48" fmla="*/ 662461 w 1880151"/>
                  <a:gd name="connsiteY48" fmla="*/ 1465051 h 1691232"/>
                  <a:gd name="connsiteX49" fmla="*/ 755271 w 1880151"/>
                  <a:gd name="connsiteY49" fmla="*/ 1538205 h 1691232"/>
                  <a:gd name="connsiteX50" fmla="*/ 805336 w 1880151"/>
                  <a:gd name="connsiteY50" fmla="*/ 1488863 h 1691232"/>
                  <a:gd name="connsiteX51" fmla="*/ 869926 w 1880151"/>
                  <a:gd name="connsiteY51" fmla="*/ 1516260 h 1691232"/>
                  <a:gd name="connsiteX52" fmla="*/ 924399 w 1880151"/>
                  <a:gd name="connsiteY52" fmla="*/ 1484101 h 1691232"/>
                  <a:gd name="connsiteX53" fmla="*/ 941246 w 1880151"/>
                  <a:gd name="connsiteY53" fmla="*/ 1441925 h 1691232"/>
                  <a:gd name="connsiteX54" fmla="*/ 1005123 w 1880151"/>
                  <a:gd name="connsiteY54" fmla="*/ 1528337 h 1691232"/>
                  <a:gd name="connsiteX55" fmla="*/ 1050190 w 1880151"/>
                  <a:gd name="connsiteY55" fmla="*/ 1599431 h 1691232"/>
                  <a:gd name="connsiteX56" fmla="*/ 1120136 w 1880151"/>
                  <a:gd name="connsiteY56" fmla="*/ 1690950 h 1691232"/>
                  <a:gd name="connsiteX57" fmla="*/ 1151034 w 1880151"/>
                  <a:gd name="connsiteY57" fmla="*/ 1627859 h 1691232"/>
                  <a:gd name="connsiteX58" fmla="*/ 1181693 w 1880151"/>
                  <a:gd name="connsiteY58" fmla="*/ 1621379 h 1691232"/>
                  <a:gd name="connsiteX59" fmla="*/ 1224792 w 1880151"/>
                  <a:gd name="connsiteY59" fmla="*/ 1650642 h 1691232"/>
                  <a:gd name="connsiteX60" fmla="*/ 1258367 w 1880151"/>
                  <a:gd name="connsiteY60" fmla="*/ 1609988 h 1691232"/>
                  <a:gd name="connsiteX61" fmla="*/ 1277188 w 1880151"/>
                  <a:gd name="connsiteY61" fmla="*/ 1614605 h 1691232"/>
                  <a:gd name="connsiteX62" fmla="*/ 1311230 w 1880151"/>
                  <a:gd name="connsiteY62" fmla="*/ 1681082 h 1691232"/>
                  <a:gd name="connsiteX63" fmla="*/ 1367786 w 1880151"/>
                  <a:gd name="connsiteY63" fmla="*/ 1657613 h 1691232"/>
                  <a:gd name="connsiteX64" fmla="*/ 1419818 w 1880151"/>
                  <a:gd name="connsiteY64" fmla="*/ 1601492 h 1691232"/>
                  <a:gd name="connsiteX65" fmla="*/ 1470595 w 1880151"/>
                  <a:gd name="connsiteY65" fmla="*/ 1584949 h 1691232"/>
                  <a:gd name="connsiteX66" fmla="*/ 1488274 w 1880151"/>
                  <a:gd name="connsiteY66" fmla="*/ 1640771 h 1691232"/>
                  <a:gd name="connsiteX67" fmla="*/ 1558169 w 1880151"/>
                  <a:gd name="connsiteY67" fmla="*/ 1615093 h 1691232"/>
                  <a:gd name="connsiteX68" fmla="*/ 1588947 w 1880151"/>
                  <a:gd name="connsiteY68" fmla="*/ 1528337 h 1691232"/>
                  <a:gd name="connsiteX69" fmla="*/ 1670383 w 1880151"/>
                  <a:gd name="connsiteY69" fmla="*/ 1438195 h 1691232"/>
                  <a:gd name="connsiteX70" fmla="*/ 1714974 w 1880151"/>
                  <a:gd name="connsiteY70" fmla="*/ 1407065 h 1691232"/>
                  <a:gd name="connsiteX71" fmla="*/ 1743343 w 1880151"/>
                  <a:gd name="connsiteY71" fmla="*/ 1410360 h 1691232"/>
                  <a:gd name="connsiteX72" fmla="*/ 1820935 w 1880151"/>
                  <a:gd name="connsiteY72" fmla="*/ 1399752 h 1691232"/>
                  <a:gd name="connsiteX73" fmla="*/ 1816054 w 1880151"/>
                  <a:gd name="connsiteY73" fmla="*/ 1453316 h 1691232"/>
                  <a:gd name="connsiteX74" fmla="*/ 1874221 w 1880151"/>
                  <a:gd name="connsiteY74" fmla="*/ 1476637 h 1691232"/>
                  <a:gd name="connsiteX75" fmla="*/ 1875830 w 1880151"/>
                  <a:gd name="connsiteY75" fmla="*/ 1451451 h 1691232"/>
                  <a:gd name="connsiteX76" fmla="*/ 1853086 w 1880151"/>
                  <a:gd name="connsiteY76" fmla="*/ 1398376 h 1691232"/>
                  <a:gd name="connsiteX77" fmla="*/ 1853086 w 1880151"/>
                  <a:gd name="connsiteY77" fmla="*/ 1303126 h 1691232"/>
                  <a:gd name="connsiteX78" fmla="*/ 1853086 w 1880151"/>
                  <a:gd name="connsiteY78" fmla="*/ 1245976 h 1691232"/>
                  <a:gd name="connsiteX79" fmla="*/ 1810224 w 1880151"/>
                  <a:gd name="connsiteY79" fmla="*/ 1236451 h 1691232"/>
                  <a:gd name="connsiteX80" fmla="*/ 1734024 w 1880151"/>
                  <a:gd name="connsiteY80" fmla="*/ 1155488 h 1691232"/>
                  <a:gd name="connsiteX81" fmla="*/ 1695924 w 1880151"/>
                  <a:gd name="connsiteY81" fmla="*/ 974513 h 1691232"/>
                  <a:gd name="connsiteX82" fmla="*/ 1643536 w 1880151"/>
                  <a:gd name="connsiteY82" fmla="*/ 941176 h 1691232"/>
                  <a:gd name="connsiteX83" fmla="*/ 1605436 w 1880151"/>
                  <a:gd name="connsiteY83" fmla="*/ 884026 h 1691232"/>
                  <a:gd name="connsiteX84" fmla="*/ 1557811 w 1880151"/>
                  <a:gd name="connsiteY84" fmla="*/ 836401 h 1691232"/>
                  <a:gd name="connsiteX85" fmla="*/ 1505424 w 1880151"/>
                  <a:gd name="connsiteY85" fmla="*/ 817351 h 1691232"/>
                  <a:gd name="connsiteX86" fmla="*/ 1453036 w 1880151"/>
                  <a:gd name="connsiteY86" fmla="*/ 812588 h 1691232"/>
                  <a:gd name="connsiteX87" fmla="*/ 1510186 w 1880151"/>
                  <a:gd name="connsiteY87" fmla="*/ 779251 h 1691232"/>
                  <a:gd name="connsiteX88" fmla="*/ 1476849 w 1880151"/>
                  <a:gd name="connsiteY88" fmla="*/ 745913 h 1691232"/>
                  <a:gd name="connsiteX89" fmla="*/ 1481611 w 1880151"/>
                  <a:gd name="connsiteY89" fmla="*/ 722101 h 1691232"/>
                  <a:gd name="connsiteX90" fmla="*/ 1572099 w 1880151"/>
                  <a:gd name="connsiteY90" fmla="*/ 760201 h 1691232"/>
                  <a:gd name="connsiteX91" fmla="*/ 1624486 w 1880151"/>
                  <a:gd name="connsiteY91" fmla="*/ 693526 h 1691232"/>
                  <a:gd name="connsiteX92" fmla="*/ 1614961 w 1880151"/>
                  <a:gd name="connsiteY92" fmla="*/ 550651 h 1691232"/>
                  <a:gd name="connsiteX93" fmla="*/ 1610199 w 1880151"/>
                  <a:gd name="connsiteY93" fmla="*/ 412538 h 1691232"/>
                  <a:gd name="connsiteX0" fmla="*/ 1610199 w 1874950"/>
                  <a:gd name="connsiteY0" fmla="*/ 412538 h 1691232"/>
                  <a:gd name="connsiteX1" fmla="*/ 1567336 w 1874950"/>
                  <a:gd name="connsiteY1" fmla="*/ 369676 h 1691232"/>
                  <a:gd name="connsiteX2" fmla="*/ 1467324 w 1874950"/>
                  <a:gd name="connsiteY2" fmla="*/ 345863 h 1691232"/>
                  <a:gd name="connsiteX3" fmla="*/ 1419699 w 1874950"/>
                  <a:gd name="connsiteY3" fmla="*/ 317288 h 1691232"/>
                  <a:gd name="connsiteX4" fmla="*/ 1367311 w 1874950"/>
                  <a:gd name="connsiteY4" fmla="*/ 160126 h 1691232"/>
                  <a:gd name="connsiteX5" fmla="*/ 1338736 w 1874950"/>
                  <a:gd name="connsiteY5" fmla="*/ 12488 h 1691232"/>
                  <a:gd name="connsiteX6" fmla="*/ 1267299 w 1874950"/>
                  <a:gd name="connsiteY6" fmla="*/ 12488 h 1691232"/>
                  <a:gd name="connsiteX7" fmla="*/ 1214911 w 1874950"/>
                  <a:gd name="connsiteY7" fmla="*/ 50588 h 1691232"/>
                  <a:gd name="connsiteX8" fmla="*/ 1214911 w 1874950"/>
                  <a:gd name="connsiteY8" fmla="*/ 155363 h 1691232"/>
                  <a:gd name="connsiteX9" fmla="*/ 1186336 w 1874950"/>
                  <a:gd name="connsiteY9" fmla="*/ 183938 h 1691232"/>
                  <a:gd name="connsiteX10" fmla="*/ 1176811 w 1874950"/>
                  <a:gd name="connsiteY10" fmla="*/ 255376 h 1691232"/>
                  <a:gd name="connsiteX11" fmla="*/ 1114899 w 1874950"/>
                  <a:gd name="connsiteY11" fmla="*/ 298238 h 1691232"/>
                  <a:gd name="connsiteX12" fmla="*/ 1005361 w 1874950"/>
                  <a:gd name="connsiteY12" fmla="*/ 312526 h 1691232"/>
                  <a:gd name="connsiteX13" fmla="*/ 962499 w 1874950"/>
                  <a:gd name="connsiteY13" fmla="*/ 355388 h 1691232"/>
                  <a:gd name="connsiteX14" fmla="*/ 838674 w 1874950"/>
                  <a:gd name="connsiteY14" fmla="*/ 355388 h 1691232"/>
                  <a:gd name="connsiteX15" fmla="*/ 781524 w 1874950"/>
                  <a:gd name="connsiteY15" fmla="*/ 426826 h 1691232"/>
                  <a:gd name="connsiteX16" fmla="*/ 781524 w 1874950"/>
                  <a:gd name="connsiteY16" fmla="*/ 460163 h 1691232"/>
                  <a:gd name="connsiteX17" fmla="*/ 743424 w 1874950"/>
                  <a:gd name="connsiteY17" fmla="*/ 483976 h 1691232"/>
                  <a:gd name="connsiteX18" fmla="*/ 671986 w 1874950"/>
                  <a:gd name="connsiteY18" fmla="*/ 417301 h 1691232"/>
                  <a:gd name="connsiteX19" fmla="*/ 519586 w 1874950"/>
                  <a:gd name="connsiteY19" fmla="*/ 412538 h 1691232"/>
                  <a:gd name="connsiteX20" fmla="*/ 457674 w 1874950"/>
                  <a:gd name="connsiteY20" fmla="*/ 431588 h 1691232"/>
                  <a:gd name="connsiteX21" fmla="*/ 419574 w 1874950"/>
                  <a:gd name="connsiteY21" fmla="*/ 417301 h 1691232"/>
                  <a:gd name="connsiteX22" fmla="*/ 400524 w 1874950"/>
                  <a:gd name="connsiteY22" fmla="*/ 355388 h 1691232"/>
                  <a:gd name="connsiteX23" fmla="*/ 333849 w 1874950"/>
                  <a:gd name="connsiteY23" fmla="*/ 303001 h 1691232"/>
                  <a:gd name="connsiteX24" fmla="*/ 286224 w 1874950"/>
                  <a:gd name="connsiteY24" fmla="*/ 236326 h 1691232"/>
                  <a:gd name="connsiteX25" fmla="*/ 143349 w 1874950"/>
                  <a:gd name="connsiteY25" fmla="*/ 255376 h 1691232"/>
                  <a:gd name="connsiteX26" fmla="*/ 124299 w 1874950"/>
                  <a:gd name="connsiteY26" fmla="*/ 331576 h 1691232"/>
                  <a:gd name="connsiteX27" fmla="*/ 110011 w 1874950"/>
                  <a:gd name="connsiteY27" fmla="*/ 364913 h 1691232"/>
                  <a:gd name="connsiteX28" fmla="*/ 133824 w 1874950"/>
                  <a:gd name="connsiteY28" fmla="*/ 412538 h 1691232"/>
                  <a:gd name="connsiteX29" fmla="*/ 81436 w 1874950"/>
                  <a:gd name="connsiteY29" fmla="*/ 450638 h 1691232"/>
                  <a:gd name="connsiteX30" fmla="*/ 33811 w 1874950"/>
                  <a:gd name="connsiteY30" fmla="*/ 445876 h 1691232"/>
                  <a:gd name="connsiteX31" fmla="*/ 33811 w 1874950"/>
                  <a:gd name="connsiteY31" fmla="*/ 517313 h 1691232"/>
                  <a:gd name="connsiteX32" fmla="*/ 474 w 1874950"/>
                  <a:gd name="connsiteY32" fmla="*/ 622088 h 1691232"/>
                  <a:gd name="connsiteX33" fmla="*/ 62386 w 1874950"/>
                  <a:gd name="connsiteY33" fmla="*/ 698288 h 1691232"/>
                  <a:gd name="connsiteX34" fmla="*/ 111977 w 1874950"/>
                  <a:gd name="connsiteY34" fmla="*/ 678550 h 1691232"/>
                  <a:gd name="connsiteX35" fmla="*/ 112334 w 1874950"/>
                  <a:gd name="connsiteY35" fmla="*/ 748809 h 1691232"/>
                  <a:gd name="connsiteX36" fmla="*/ 167161 w 1874950"/>
                  <a:gd name="connsiteY36" fmla="*/ 779251 h 1691232"/>
                  <a:gd name="connsiteX37" fmla="*/ 236159 w 1874950"/>
                  <a:gd name="connsiteY37" fmla="*/ 789463 h 1691232"/>
                  <a:gd name="connsiteX38" fmla="*/ 271462 w 1874950"/>
                  <a:gd name="connsiteY38" fmla="*/ 845434 h 1691232"/>
                  <a:gd name="connsiteX39" fmla="*/ 270869 w 1874950"/>
                  <a:gd name="connsiteY39" fmla="*/ 890506 h 1691232"/>
                  <a:gd name="connsiteX40" fmla="*/ 295393 w 1874950"/>
                  <a:gd name="connsiteY40" fmla="*/ 929981 h 1691232"/>
                  <a:gd name="connsiteX41" fmla="*/ 341051 w 1874950"/>
                  <a:gd name="connsiteY41" fmla="*/ 968573 h 1691232"/>
                  <a:gd name="connsiteX42" fmla="*/ 426184 w 1874950"/>
                  <a:gd name="connsiteY42" fmla="*/ 1022825 h 1691232"/>
                  <a:gd name="connsiteX43" fmla="*/ 461961 w 1874950"/>
                  <a:gd name="connsiteY43" fmla="*/ 1093918 h 1691232"/>
                  <a:gd name="connsiteX44" fmla="*/ 441064 w 1874950"/>
                  <a:gd name="connsiteY44" fmla="*/ 1163491 h 1691232"/>
                  <a:gd name="connsiteX45" fmla="*/ 519111 w 1874950"/>
                  <a:gd name="connsiteY45" fmla="*/ 1219954 h 1691232"/>
                  <a:gd name="connsiteX46" fmla="*/ 591143 w 1874950"/>
                  <a:gd name="connsiteY46" fmla="*/ 1252948 h 1691232"/>
                  <a:gd name="connsiteX47" fmla="*/ 571974 w 1874950"/>
                  <a:gd name="connsiteY47" fmla="*/ 1312651 h 1691232"/>
                  <a:gd name="connsiteX48" fmla="*/ 662461 w 1874950"/>
                  <a:gd name="connsiteY48" fmla="*/ 1465051 h 1691232"/>
                  <a:gd name="connsiteX49" fmla="*/ 755271 w 1874950"/>
                  <a:gd name="connsiteY49" fmla="*/ 1538205 h 1691232"/>
                  <a:gd name="connsiteX50" fmla="*/ 805336 w 1874950"/>
                  <a:gd name="connsiteY50" fmla="*/ 1488863 h 1691232"/>
                  <a:gd name="connsiteX51" fmla="*/ 869926 w 1874950"/>
                  <a:gd name="connsiteY51" fmla="*/ 1516260 h 1691232"/>
                  <a:gd name="connsiteX52" fmla="*/ 924399 w 1874950"/>
                  <a:gd name="connsiteY52" fmla="*/ 1484101 h 1691232"/>
                  <a:gd name="connsiteX53" fmla="*/ 941246 w 1874950"/>
                  <a:gd name="connsiteY53" fmla="*/ 1441925 h 1691232"/>
                  <a:gd name="connsiteX54" fmla="*/ 1005123 w 1874950"/>
                  <a:gd name="connsiteY54" fmla="*/ 1528337 h 1691232"/>
                  <a:gd name="connsiteX55" fmla="*/ 1050190 w 1874950"/>
                  <a:gd name="connsiteY55" fmla="*/ 1599431 h 1691232"/>
                  <a:gd name="connsiteX56" fmla="*/ 1120136 w 1874950"/>
                  <a:gd name="connsiteY56" fmla="*/ 1690950 h 1691232"/>
                  <a:gd name="connsiteX57" fmla="*/ 1151034 w 1874950"/>
                  <a:gd name="connsiteY57" fmla="*/ 1627859 h 1691232"/>
                  <a:gd name="connsiteX58" fmla="*/ 1181693 w 1874950"/>
                  <a:gd name="connsiteY58" fmla="*/ 1621379 h 1691232"/>
                  <a:gd name="connsiteX59" fmla="*/ 1224792 w 1874950"/>
                  <a:gd name="connsiteY59" fmla="*/ 1650642 h 1691232"/>
                  <a:gd name="connsiteX60" fmla="*/ 1258367 w 1874950"/>
                  <a:gd name="connsiteY60" fmla="*/ 1609988 h 1691232"/>
                  <a:gd name="connsiteX61" fmla="*/ 1277188 w 1874950"/>
                  <a:gd name="connsiteY61" fmla="*/ 1614605 h 1691232"/>
                  <a:gd name="connsiteX62" fmla="*/ 1311230 w 1874950"/>
                  <a:gd name="connsiteY62" fmla="*/ 1681082 h 1691232"/>
                  <a:gd name="connsiteX63" fmla="*/ 1367786 w 1874950"/>
                  <a:gd name="connsiteY63" fmla="*/ 1657613 h 1691232"/>
                  <a:gd name="connsiteX64" fmla="*/ 1419818 w 1874950"/>
                  <a:gd name="connsiteY64" fmla="*/ 1601492 h 1691232"/>
                  <a:gd name="connsiteX65" fmla="*/ 1470595 w 1874950"/>
                  <a:gd name="connsiteY65" fmla="*/ 1584949 h 1691232"/>
                  <a:gd name="connsiteX66" fmla="*/ 1488274 w 1874950"/>
                  <a:gd name="connsiteY66" fmla="*/ 1640771 h 1691232"/>
                  <a:gd name="connsiteX67" fmla="*/ 1558169 w 1874950"/>
                  <a:gd name="connsiteY67" fmla="*/ 1615093 h 1691232"/>
                  <a:gd name="connsiteX68" fmla="*/ 1588947 w 1874950"/>
                  <a:gd name="connsiteY68" fmla="*/ 1528337 h 1691232"/>
                  <a:gd name="connsiteX69" fmla="*/ 1670383 w 1874950"/>
                  <a:gd name="connsiteY69" fmla="*/ 1438195 h 1691232"/>
                  <a:gd name="connsiteX70" fmla="*/ 1714974 w 1874950"/>
                  <a:gd name="connsiteY70" fmla="*/ 1407065 h 1691232"/>
                  <a:gd name="connsiteX71" fmla="*/ 1743343 w 1874950"/>
                  <a:gd name="connsiteY71" fmla="*/ 1410360 h 1691232"/>
                  <a:gd name="connsiteX72" fmla="*/ 1820935 w 1874950"/>
                  <a:gd name="connsiteY72" fmla="*/ 1399752 h 1691232"/>
                  <a:gd name="connsiteX73" fmla="*/ 1816054 w 1874950"/>
                  <a:gd name="connsiteY73" fmla="*/ 1453316 h 1691232"/>
                  <a:gd name="connsiteX74" fmla="*/ 1874221 w 1874950"/>
                  <a:gd name="connsiteY74" fmla="*/ 1476637 h 1691232"/>
                  <a:gd name="connsiteX75" fmla="*/ 1848983 w 1874950"/>
                  <a:gd name="connsiteY75" fmla="*/ 1443791 h 1691232"/>
                  <a:gd name="connsiteX76" fmla="*/ 1853086 w 1874950"/>
                  <a:gd name="connsiteY76" fmla="*/ 1398376 h 1691232"/>
                  <a:gd name="connsiteX77" fmla="*/ 1853086 w 1874950"/>
                  <a:gd name="connsiteY77" fmla="*/ 1303126 h 1691232"/>
                  <a:gd name="connsiteX78" fmla="*/ 1853086 w 1874950"/>
                  <a:gd name="connsiteY78" fmla="*/ 1245976 h 1691232"/>
                  <a:gd name="connsiteX79" fmla="*/ 1810224 w 1874950"/>
                  <a:gd name="connsiteY79" fmla="*/ 1236451 h 1691232"/>
                  <a:gd name="connsiteX80" fmla="*/ 1734024 w 1874950"/>
                  <a:gd name="connsiteY80" fmla="*/ 1155488 h 1691232"/>
                  <a:gd name="connsiteX81" fmla="*/ 1695924 w 1874950"/>
                  <a:gd name="connsiteY81" fmla="*/ 974513 h 1691232"/>
                  <a:gd name="connsiteX82" fmla="*/ 1643536 w 1874950"/>
                  <a:gd name="connsiteY82" fmla="*/ 941176 h 1691232"/>
                  <a:gd name="connsiteX83" fmla="*/ 1605436 w 1874950"/>
                  <a:gd name="connsiteY83" fmla="*/ 884026 h 1691232"/>
                  <a:gd name="connsiteX84" fmla="*/ 1557811 w 1874950"/>
                  <a:gd name="connsiteY84" fmla="*/ 836401 h 1691232"/>
                  <a:gd name="connsiteX85" fmla="*/ 1505424 w 1874950"/>
                  <a:gd name="connsiteY85" fmla="*/ 817351 h 1691232"/>
                  <a:gd name="connsiteX86" fmla="*/ 1453036 w 1874950"/>
                  <a:gd name="connsiteY86" fmla="*/ 812588 h 1691232"/>
                  <a:gd name="connsiteX87" fmla="*/ 1510186 w 1874950"/>
                  <a:gd name="connsiteY87" fmla="*/ 779251 h 1691232"/>
                  <a:gd name="connsiteX88" fmla="*/ 1476849 w 1874950"/>
                  <a:gd name="connsiteY88" fmla="*/ 745913 h 1691232"/>
                  <a:gd name="connsiteX89" fmla="*/ 1481611 w 1874950"/>
                  <a:gd name="connsiteY89" fmla="*/ 722101 h 1691232"/>
                  <a:gd name="connsiteX90" fmla="*/ 1572099 w 1874950"/>
                  <a:gd name="connsiteY90" fmla="*/ 760201 h 1691232"/>
                  <a:gd name="connsiteX91" fmla="*/ 1624486 w 1874950"/>
                  <a:gd name="connsiteY91" fmla="*/ 693526 h 1691232"/>
                  <a:gd name="connsiteX92" fmla="*/ 1614961 w 1874950"/>
                  <a:gd name="connsiteY92" fmla="*/ 550651 h 1691232"/>
                  <a:gd name="connsiteX93" fmla="*/ 1610199 w 1874950"/>
                  <a:gd name="connsiteY93" fmla="*/ 412538 h 1691232"/>
                  <a:gd name="connsiteX0" fmla="*/ 1610199 w 1880150"/>
                  <a:gd name="connsiteY0" fmla="*/ 412538 h 1691232"/>
                  <a:gd name="connsiteX1" fmla="*/ 1567336 w 1880150"/>
                  <a:gd name="connsiteY1" fmla="*/ 369676 h 1691232"/>
                  <a:gd name="connsiteX2" fmla="*/ 1467324 w 1880150"/>
                  <a:gd name="connsiteY2" fmla="*/ 345863 h 1691232"/>
                  <a:gd name="connsiteX3" fmla="*/ 1419699 w 1880150"/>
                  <a:gd name="connsiteY3" fmla="*/ 317288 h 1691232"/>
                  <a:gd name="connsiteX4" fmla="*/ 1367311 w 1880150"/>
                  <a:gd name="connsiteY4" fmla="*/ 160126 h 1691232"/>
                  <a:gd name="connsiteX5" fmla="*/ 1338736 w 1880150"/>
                  <a:gd name="connsiteY5" fmla="*/ 12488 h 1691232"/>
                  <a:gd name="connsiteX6" fmla="*/ 1267299 w 1880150"/>
                  <a:gd name="connsiteY6" fmla="*/ 12488 h 1691232"/>
                  <a:gd name="connsiteX7" fmla="*/ 1214911 w 1880150"/>
                  <a:gd name="connsiteY7" fmla="*/ 50588 h 1691232"/>
                  <a:gd name="connsiteX8" fmla="*/ 1214911 w 1880150"/>
                  <a:gd name="connsiteY8" fmla="*/ 155363 h 1691232"/>
                  <a:gd name="connsiteX9" fmla="*/ 1186336 w 1880150"/>
                  <a:gd name="connsiteY9" fmla="*/ 183938 h 1691232"/>
                  <a:gd name="connsiteX10" fmla="*/ 1176811 w 1880150"/>
                  <a:gd name="connsiteY10" fmla="*/ 255376 h 1691232"/>
                  <a:gd name="connsiteX11" fmla="*/ 1114899 w 1880150"/>
                  <a:gd name="connsiteY11" fmla="*/ 298238 h 1691232"/>
                  <a:gd name="connsiteX12" fmla="*/ 1005361 w 1880150"/>
                  <a:gd name="connsiteY12" fmla="*/ 312526 h 1691232"/>
                  <a:gd name="connsiteX13" fmla="*/ 962499 w 1880150"/>
                  <a:gd name="connsiteY13" fmla="*/ 355388 h 1691232"/>
                  <a:gd name="connsiteX14" fmla="*/ 838674 w 1880150"/>
                  <a:gd name="connsiteY14" fmla="*/ 355388 h 1691232"/>
                  <a:gd name="connsiteX15" fmla="*/ 781524 w 1880150"/>
                  <a:gd name="connsiteY15" fmla="*/ 426826 h 1691232"/>
                  <a:gd name="connsiteX16" fmla="*/ 781524 w 1880150"/>
                  <a:gd name="connsiteY16" fmla="*/ 460163 h 1691232"/>
                  <a:gd name="connsiteX17" fmla="*/ 743424 w 1880150"/>
                  <a:gd name="connsiteY17" fmla="*/ 483976 h 1691232"/>
                  <a:gd name="connsiteX18" fmla="*/ 671986 w 1880150"/>
                  <a:gd name="connsiteY18" fmla="*/ 417301 h 1691232"/>
                  <a:gd name="connsiteX19" fmla="*/ 519586 w 1880150"/>
                  <a:gd name="connsiteY19" fmla="*/ 412538 h 1691232"/>
                  <a:gd name="connsiteX20" fmla="*/ 457674 w 1880150"/>
                  <a:gd name="connsiteY20" fmla="*/ 431588 h 1691232"/>
                  <a:gd name="connsiteX21" fmla="*/ 419574 w 1880150"/>
                  <a:gd name="connsiteY21" fmla="*/ 417301 h 1691232"/>
                  <a:gd name="connsiteX22" fmla="*/ 400524 w 1880150"/>
                  <a:gd name="connsiteY22" fmla="*/ 355388 h 1691232"/>
                  <a:gd name="connsiteX23" fmla="*/ 333849 w 1880150"/>
                  <a:gd name="connsiteY23" fmla="*/ 303001 h 1691232"/>
                  <a:gd name="connsiteX24" fmla="*/ 286224 w 1880150"/>
                  <a:gd name="connsiteY24" fmla="*/ 236326 h 1691232"/>
                  <a:gd name="connsiteX25" fmla="*/ 143349 w 1880150"/>
                  <a:gd name="connsiteY25" fmla="*/ 255376 h 1691232"/>
                  <a:gd name="connsiteX26" fmla="*/ 124299 w 1880150"/>
                  <a:gd name="connsiteY26" fmla="*/ 331576 h 1691232"/>
                  <a:gd name="connsiteX27" fmla="*/ 110011 w 1880150"/>
                  <a:gd name="connsiteY27" fmla="*/ 364913 h 1691232"/>
                  <a:gd name="connsiteX28" fmla="*/ 133824 w 1880150"/>
                  <a:gd name="connsiteY28" fmla="*/ 412538 h 1691232"/>
                  <a:gd name="connsiteX29" fmla="*/ 81436 w 1880150"/>
                  <a:gd name="connsiteY29" fmla="*/ 450638 h 1691232"/>
                  <a:gd name="connsiteX30" fmla="*/ 33811 w 1880150"/>
                  <a:gd name="connsiteY30" fmla="*/ 445876 h 1691232"/>
                  <a:gd name="connsiteX31" fmla="*/ 33811 w 1880150"/>
                  <a:gd name="connsiteY31" fmla="*/ 517313 h 1691232"/>
                  <a:gd name="connsiteX32" fmla="*/ 474 w 1880150"/>
                  <a:gd name="connsiteY32" fmla="*/ 622088 h 1691232"/>
                  <a:gd name="connsiteX33" fmla="*/ 62386 w 1880150"/>
                  <a:gd name="connsiteY33" fmla="*/ 698288 h 1691232"/>
                  <a:gd name="connsiteX34" fmla="*/ 111977 w 1880150"/>
                  <a:gd name="connsiteY34" fmla="*/ 678550 h 1691232"/>
                  <a:gd name="connsiteX35" fmla="*/ 112334 w 1880150"/>
                  <a:gd name="connsiteY35" fmla="*/ 748809 h 1691232"/>
                  <a:gd name="connsiteX36" fmla="*/ 167161 w 1880150"/>
                  <a:gd name="connsiteY36" fmla="*/ 779251 h 1691232"/>
                  <a:gd name="connsiteX37" fmla="*/ 236159 w 1880150"/>
                  <a:gd name="connsiteY37" fmla="*/ 789463 h 1691232"/>
                  <a:gd name="connsiteX38" fmla="*/ 271462 w 1880150"/>
                  <a:gd name="connsiteY38" fmla="*/ 845434 h 1691232"/>
                  <a:gd name="connsiteX39" fmla="*/ 270869 w 1880150"/>
                  <a:gd name="connsiteY39" fmla="*/ 890506 h 1691232"/>
                  <a:gd name="connsiteX40" fmla="*/ 295393 w 1880150"/>
                  <a:gd name="connsiteY40" fmla="*/ 929981 h 1691232"/>
                  <a:gd name="connsiteX41" fmla="*/ 341051 w 1880150"/>
                  <a:gd name="connsiteY41" fmla="*/ 968573 h 1691232"/>
                  <a:gd name="connsiteX42" fmla="*/ 426184 w 1880150"/>
                  <a:gd name="connsiteY42" fmla="*/ 1022825 h 1691232"/>
                  <a:gd name="connsiteX43" fmla="*/ 461961 w 1880150"/>
                  <a:gd name="connsiteY43" fmla="*/ 1093918 h 1691232"/>
                  <a:gd name="connsiteX44" fmla="*/ 441064 w 1880150"/>
                  <a:gd name="connsiteY44" fmla="*/ 1163491 h 1691232"/>
                  <a:gd name="connsiteX45" fmla="*/ 519111 w 1880150"/>
                  <a:gd name="connsiteY45" fmla="*/ 1219954 h 1691232"/>
                  <a:gd name="connsiteX46" fmla="*/ 591143 w 1880150"/>
                  <a:gd name="connsiteY46" fmla="*/ 1252948 h 1691232"/>
                  <a:gd name="connsiteX47" fmla="*/ 571974 w 1880150"/>
                  <a:gd name="connsiteY47" fmla="*/ 1312651 h 1691232"/>
                  <a:gd name="connsiteX48" fmla="*/ 662461 w 1880150"/>
                  <a:gd name="connsiteY48" fmla="*/ 1465051 h 1691232"/>
                  <a:gd name="connsiteX49" fmla="*/ 755271 w 1880150"/>
                  <a:gd name="connsiteY49" fmla="*/ 1538205 h 1691232"/>
                  <a:gd name="connsiteX50" fmla="*/ 805336 w 1880150"/>
                  <a:gd name="connsiteY50" fmla="*/ 1488863 h 1691232"/>
                  <a:gd name="connsiteX51" fmla="*/ 869926 w 1880150"/>
                  <a:gd name="connsiteY51" fmla="*/ 1516260 h 1691232"/>
                  <a:gd name="connsiteX52" fmla="*/ 924399 w 1880150"/>
                  <a:gd name="connsiteY52" fmla="*/ 1484101 h 1691232"/>
                  <a:gd name="connsiteX53" fmla="*/ 941246 w 1880150"/>
                  <a:gd name="connsiteY53" fmla="*/ 1441925 h 1691232"/>
                  <a:gd name="connsiteX54" fmla="*/ 1005123 w 1880150"/>
                  <a:gd name="connsiteY54" fmla="*/ 1528337 h 1691232"/>
                  <a:gd name="connsiteX55" fmla="*/ 1050190 w 1880150"/>
                  <a:gd name="connsiteY55" fmla="*/ 1599431 h 1691232"/>
                  <a:gd name="connsiteX56" fmla="*/ 1120136 w 1880150"/>
                  <a:gd name="connsiteY56" fmla="*/ 1690950 h 1691232"/>
                  <a:gd name="connsiteX57" fmla="*/ 1151034 w 1880150"/>
                  <a:gd name="connsiteY57" fmla="*/ 1627859 h 1691232"/>
                  <a:gd name="connsiteX58" fmla="*/ 1181693 w 1880150"/>
                  <a:gd name="connsiteY58" fmla="*/ 1621379 h 1691232"/>
                  <a:gd name="connsiteX59" fmla="*/ 1224792 w 1880150"/>
                  <a:gd name="connsiteY59" fmla="*/ 1650642 h 1691232"/>
                  <a:gd name="connsiteX60" fmla="*/ 1258367 w 1880150"/>
                  <a:gd name="connsiteY60" fmla="*/ 1609988 h 1691232"/>
                  <a:gd name="connsiteX61" fmla="*/ 1277188 w 1880150"/>
                  <a:gd name="connsiteY61" fmla="*/ 1614605 h 1691232"/>
                  <a:gd name="connsiteX62" fmla="*/ 1311230 w 1880150"/>
                  <a:gd name="connsiteY62" fmla="*/ 1681082 h 1691232"/>
                  <a:gd name="connsiteX63" fmla="*/ 1367786 w 1880150"/>
                  <a:gd name="connsiteY63" fmla="*/ 1657613 h 1691232"/>
                  <a:gd name="connsiteX64" fmla="*/ 1419818 w 1880150"/>
                  <a:gd name="connsiteY64" fmla="*/ 1601492 h 1691232"/>
                  <a:gd name="connsiteX65" fmla="*/ 1470595 w 1880150"/>
                  <a:gd name="connsiteY65" fmla="*/ 1584949 h 1691232"/>
                  <a:gd name="connsiteX66" fmla="*/ 1488274 w 1880150"/>
                  <a:gd name="connsiteY66" fmla="*/ 1640771 h 1691232"/>
                  <a:gd name="connsiteX67" fmla="*/ 1558169 w 1880150"/>
                  <a:gd name="connsiteY67" fmla="*/ 1615093 h 1691232"/>
                  <a:gd name="connsiteX68" fmla="*/ 1588947 w 1880150"/>
                  <a:gd name="connsiteY68" fmla="*/ 1528337 h 1691232"/>
                  <a:gd name="connsiteX69" fmla="*/ 1670383 w 1880150"/>
                  <a:gd name="connsiteY69" fmla="*/ 1438195 h 1691232"/>
                  <a:gd name="connsiteX70" fmla="*/ 1714974 w 1880150"/>
                  <a:gd name="connsiteY70" fmla="*/ 1407065 h 1691232"/>
                  <a:gd name="connsiteX71" fmla="*/ 1743343 w 1880150"/>
                  <a:gd name="connsiteY71" fmla="*/ 1410360 h 1691232"/>
                  <a:gd name="connsiteX72" fmla="*/ 1820935 w 1880150"/>
                  <a:gd name="connsiteY72" fmla="*/ 1399752 h 1691232"/>
                  <a:gd name="connsiteX73" fmla="*/ 1816054 w 1880150"/>
                  <a:gd name="connsiteY73" fmla="*/ 1453316 h 1691232"/>
                  <a:gd name="connsiteX74" fmla="*/ 1874221 w 1880150"/>
                  <a:gd name="connsiteY74" fmla="*/ 1476637 h 1691232"/>
                  <a:gd name="connsiteX75" fmla="*/ 1875829 w 1880150"/>
                  <a:gd name="connsiteY75" fmla="*/ 1454003 h 1691232"/>
                  <a:gd name="connsiteX76" fmla="*/ 1853086 w 1880150"/>
                  <a:gd name="connsiteY76" fmla="*/ 1398376 h 1691232"/>
                  <a:gd name="connsiteX77" fmla="*/ 1853086 w 1880150"/>
                  <a:gd name="connsiteY77" fmla="*/ 1303126 h 1691232"/>
                  <a:gd name="connsiteX78" fmla="*/ 1853086 w 1880150"/>
                  <a:gd name="connsiteY78" fmla="*/ 1245976 h 1691232"/>
                  <a:gd name="connsiteX79" fmla="*/ 1810224 w 1880150"/>
                  <a:gd name="connsiteY79" fmla="*/ 1236451 h 1691232"/>
                  <a:gd name="connsiteX80" fmla="*/ 1734024 w 1880150"/>
                  <a:gd name="connsiteY80" fmla="*/ 1155488 h 1691232"/>
                  <a:gd name="connsiteX81" fmla="*/ 1695924 w 1880150"/>
                  <a:gd name="connsiteY81" fmla="*/ 974513 h 1691232"/>
                  <a:gd name="connsiteX82" fmla="*/ 1643536 w 1880150"/>
                  <a:gd name="connsiteY82" fmla="*/ 941176 h 1691232"/>
                  <a:gd name="connsiteX83" fmla="*/ 1605436 w 1880150"/>
                  <a:gd name="connsiteY83" fmla="*/ 884026 h 1691232"/>
                  <a:gd name="connsiteX84" fmla="*/ 1557811 w 1880150"/>
                  <a:gd name="connsiteY84" fmla="*/ 836401 h 1691232"/>
                  <a:gd name="connsiteX85" fmla="*/ 1505424 w 1880150"/>
                  <a:gd name="connsiteY85" fmla="*/ 817351 h 1691232"/>
                  <a:gd name="connsiteX86" fmla="*/ 1453036 w 1880150"/>
                  <a:gd name="connsiteY86" fmla="*/ 812588 h 1691232"/>
                  <a:gd name="connsiteX87" fmla="*/ 1510186 w 1880150"/>
                  <a:gd name="connsiteY87" fmla="*/ 779251 h 1691232"/>
                  <a:gd name="connsiteX88" fmla="*/ 1476849 w 1880150"/>
                  <a:gd name="connsiteY88" fmla="*/ 745913 h 1691232"/>
                  <a:gd name="connsiteX89" fmla="*/ 1481611 w 1880150"/>
                  <a:gd name="connsiteY89" fmla="*/ 722101 h 1691232"/>
                  <a:gd name="connsiteX90" fmla="*/ 1572099 w 1880150"/>
                  <a:gd name="connsiteY90" fmla="*/ 760201 h 1691232"/>
                  <a:gd name="connsiteX91" fmla="*/ 1624486 w 1880150"/>
                  <a:gd name="connsiteY91" fmla="*/ 693526 h 1691232"/>
                  <a:gd name="connsiteX92" fmla="*/ 1614961 w 1880150"/>
                  <a:gd name="connsiteY92" fmla="*/ 550651 h 1691232"/>
                  <a:gd name="connsiteX93" fmla="*/ 1610199 w 1880150"/>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79071"/>
                  <a:gd name="connsiteY0" fmla="*/ 412538 h 1691232"/>
                  <a:gd name="connsiteX1" fmla="*/ 1567336 w 1879071"/>
                  <a:gd name="connsiteY1" fmla="*/ 369676 h 1691232"/>
                  <a:gd name="connsiteX2" fmla="*/ 1467324 w 1879071"/>
                  <a:gd name="connsiteY2" fmla="*/ 345863 h 1691232"/>
                  <a:gd name="connsiteX3" fmla="*/ 1419699 w 1879071"/>
                  <a:gd name="connsiteY3" fmla="*/ 317288 h 1691232"/>
                  <a:gd name="connsiteX4" fmla="*/ 1367311 w 1879071"/>
                  <a:gd name="connsiteY4" fmla="*/ 160126 h 1691232"/>
                  <a:gd name="connsiteX5" fmla="*/ 1338736 w 1879071"/>
                  <a:gd name="connsiteY5" fmla="*/ 12488 h 1691232"/>
                  <a:gd name="connsiteX6" fmla="*/ 1267299 w 1879071"/>
                  <a:gd name="connsiteY6" fmla="*/ 12488 h 1691232"/>
                  <a:gd name="connsiteX7" fmla="*/ 1214911 w 1879071"/>
                  <a:gd name="connsiteY7" fmla="*/ 50588 h 1691232"/>
                  <a:gd name="connsiteX8" fmla="*/ 1214911 w 1879071"/>
                  <a:gd name="connsiteY8" fmla="*/ 155363 h 1691232"/>
                  <a:gd name="connsiteX9" fmla="*/ 1186336 w 1879071"/>
                  <a:gd name="connsiteY9" fmla="*/ 183938 h 1691232"/>
                  <a:gd name="connsiteX10" fmla="*/ 1176811 w 1879071"/>
                  <a:gd name="connsiteY10" fmla="*/ 255376 h 1691232"/>
                  <a:gd name="connsiteX11" fmla="*/ 1114899 w 1879071"/>
                  <a:gd name="connsiteY11" fmla="*/ 298238 h 1691232"/>
                  <a:gd name="connsiteX12" fmla="*/ 1005361 w 1879071"/>
                  <a:gd name="connsiteY12" fmla="*/ 312526 h 1691232"/>
                  <a:gd name="connsiteX13" fmla="*/ 962499 w 1879071"/>
                  <a:gd name="connsiteY13" fmla="*/ 355388 h 1691232"/>
                  <a:gd name="connsiteX14" fmla="*/ 838674 w 1879071"/>
                  <a:gd name="connsiteY14" fmla="*/ 355388 h 1691232"/>
                  <a:gd name="connsiteX15" fmla="*/ 781524 w 1879071"/>
                  <a:gd name="connsiteY15" fmla="*/ 426826 h 1691232"/>
                  <a:gd name="connsiteX16" fmla="*/ 781524 w 1879071"/>
                  <a:gd name="connsiteY16" fmla="*/ 460163 h 1691232"/>
                  <a:gd name="connsiteX17" fmla="*/ 743424 w 1879071"/>
                  <a:gd name="connsiteY17" fmla="*/ 483976 h 1691232"/>
                  <a:gd name="connsiteX18" fmla="*/ 671986 w 1879071"/>
                  <a:gd name="connsiteY18" fmla="*/ 417301 h 1691232"/>
                  <a:gd name="connsiteX19" fmla="*/ 519586 w 1879071"/>
                  <a:gd name="connsiteY19" fmla="*/ 412538 h 1691232"/>
                  <a:gd name="connsiteX20" fmla="*/ 457674 w 1879071"/>
                  <a:gd name="connsiteY20" fmla="*/ 431588 h 1691232"/>
                  <a:gd name="connsiteX21" fmla="*/ 419574 w 1879071"/>
                  <a:gd name="connsiteY21" fmla="*/ 417301 h 1691232"/>
                  <a:gd name="connsiteX22" fmla="*/ 400524 w 1879071"/>
                  <a:gd name="connsiteY22" fmla="*/ 355388 h 1691232"/>
                  <a:gd name="connsiteX23" fmla="*/ 333849 w 1879071"/>
                  <a:gd name="connsiteY23" fmla="*/ 303001 h 1691232"/>
                  <a:gd name="connsiteX24" fmla="*/ 286224 w 1879071"/>
                  <a:gd name="connsiteY24" fmla="*/ 236326 h 1691232"/>
                  <a:gd name="connsiteX25" fmla="*/ 143349 w 1879071"/>
                  <a:gd name="connsiteY25" fmla="*/ 255376 h 1691232"/>
                  <a:gd name="connsiteX26" fmla="*/ 124299 w 1879071"/>
                  <a:gd name="connsiteY26" fmla="*/ 331576 h 1691232"/>
                  <a:gd name="connsiteX27" fmla="*/ 110011 w 1879071"/>
                  <a:gd name="connsiteY27" fmla="*/ 364913 h 1691232"/>
                  <a:gd name="connsiteX28" fmla="*/ 133824 w 1879071"/>
                  <a:gd name="connsiteY28" fmla="*/ 412538 h 1691232"/>
                  <a:gd name="connsiteX29" fmla="*/ 81436 w 1879071"/>
                  <a:gd name="connsiteY29" fmla="*/ 450638 h 1691232"/>
                  <a:gd name="connsiteX30" fmla="*/ 33811 w 1879071"/>
                  <a:gd name="connsiteY30" fmla="*/ 445876 h 1691232"/>
                  <a:gd name="connsiteX31" fmla="*/ 33811 w 1879071"/>
                  <a:gd name="connsiteY31" fmla="*/ 517313 h 1691232"/>
                  <a:gd name="connsiteX32" fmla="*/ 474 w 1879071"/>
                  <a:gd name="connsiteY32" fmla="*/ 622088 h 1691232"/>
                  <a:gd name="connsiteX33" fmla="*/ 62386 w 1879071"/>
                  <a:gd name="connsiteY33" fmla="*/ 698288 h 1691232"/>
                  <a:gd name="connsiteX34" fmla="*/ 111977 w 1879071"/>
                  <a:gd name="connsiteY34" fmla="*/ 678550 h 1691232"/>
                  <a:gd name="connsiteX35" fmla="*/ 112334 w 1879071"/>
                  <a:gd name="connsiteY35" fmla="*/ 748809 h 1691232"/>
                  <a:gd name="connsiteX36" fmla="*/ 167161 w 1879071"/>
                  <a:gd name="connsiteY36" fmla="*/ 779251 h 1691232"/>
                  <a:gd name="connsiteX37" fmla="*/ 236159 w 1879071"/>
                  <a:gd name="connsiteY37" fmla="*/ 789463 h 1691232"/>
                  <a:gd name="connsiteX38" fmla="*/ 271462 w 1879071"/>
                  <a:gd name="connsiteY38" fmla="*/ 845434 h 1691232"/>
                  <a:gd name="connsiteX39" fmla="*/ 270869 w 1879071"/>
                  <a:gd name="connsiteY39" fmla="*/ 890506 h 1691232"/>
                  <a:gd name="connsiteX40" fmla="*/ 295393 w 1879071"/>
                  <a:gd name="connsiteY40" fmla="*/ 929981 h 1691232"/>
                  <a:gd name="connsiteX41" fmla="*/ 341051 w 1879071"/>
                  <a:gd name="connsiteY41" fmla="*/ 968573 h 1691232"/>
                  <a:gd name="connsiteX42" fmla="*/ 426184 w 1879071"/>
                  <a:gd name="connsiteY42" fmla="*/ 1022825 h 1691232"/>
                  <a:gd name="connsiteX43" fmla="*/ 461961 w 1879071"/>
                  <a:gd name="connsiteY43" fmla="*/ 1093918 h 1691232"/>
                  <a:gd name="connsiteX44" fmla="*/ 441064 w 1879071"/>
                  <a:gd name="connsiteY44" fmla="*/ 1163491 h 1691232"/>
                  <a:gd name="connsiteX45" fmla="*/ 519111 w 1879071"/>
                  <a:gd name="connsiteY45" fmla="*/ 1219954 h 1691232"/>
                  <a:gd name="connsiteX46" fmla="*/ 591143 w 1879071"/>
                  <a:gd name="connsiteY46" fmla="*/ 1252948 h 1691232"/>
                  <a:gd name="connsiteX47" fmla="*/ 571974 w 1879071"/>
                  <a:gd name="connsiteY47" fmla="*/ 1312651 h 1691232"/>
                  <a:gd name="connsiteX48" fmla="*/ 662461 w 1879071"/>
                  <a:gd name="connsiteY48" fmla="*/ 1465051 h 1691232"/>
                  <a:gd name="connsiteX49" fmla="*/ 755271 w 1879071"/>
                  <a:gd name="connsiteY49" fmla="*/ 1538205 h 1691232"/>
                  <a:gd name="connsiteX50" fmla="*/ 805336 w 1879071"/>
                  <a:gd name="connsiteY50" fmla="*/ 1488863 h 1691232"/>
                  <a:gd name="connsiteX51" fmla="*/ 869926 w 1879071"/>
                  <a:gd name="connsiteY51" fmla="*/ 1516260 h 1691232"/>
                  <a:gd name="connsiteX52" fmla="*/ 924399 w 1879071"/>
                  <a:gd name="connsiteY52" fmla="*/ 1484101 h 1691232"/>
                  <a:gd name="connsiteX53" fmla="*/ 941246 w 1879071"/>
                  <a:gd name="connsiteY53" fmla="*/ 1441925 h 1691232"/>
                  <a:gd name="connsiteX54" fmla="*/ 1005123 w 1879071"/>
                  <a:gd name="connsiteY54" fmla="*/ 1528337 h 1691232"/>
                  <a:gd name="connsiteX55" fmla="*/ 1050190 w 1879071"/>
                  <a:gd name="connsiteY55" fmla="*/ 1599431 h 1691232"/>
                  <a:gd name="connsiteX56" fmla="*/ 1120136 w 1879071"/>
                  <a:gd name="connsiteY56" fmla="*/ 1690950 h 1691232"/>
                  <a:gd name="connsiteX57" fmla="*/ 1151034 w 1879071"/>
                  <a:gd name="connsiteY57" fmla="*/ 1627859 h 1691232"/>
                  <a:gd name="connsiteX58" fmla="*/ 1181693 w 1879071"/>
                  <a:gd name="connsiteY58" fmla="*/ 1621379 h 1691232"/>
                  <a:gd name="connsiteX59" fmla="*/ 1224792 w 1879071"/>
                  <a:gd name="connsiteY59" fmla="*/ 1650642 h 1691232"/>
                  <a:gd name="connsiteX60" fmla="*/ 1258367 w 1879071"/>
                  <a:gd name="connsiteY60" fmla="*/ 1609988 h 1691232"/>
                  <a:gd name="connsiteX61" fmla="*/ 1277188 w 1879071"/>
                  <a:gd name="connsiteY61" fmla="*/ 1614605 h 1691232"/>
                  <a:gd name="connsiteX62" fmla="*/ 1311230 w 1879071"/>
                  <a:gd name="connsiteY62" fmla="*/ 1681082 h 1691232"/>
                  <a:gd name="connsiteX63" fmla="*/ 1367786 w 1879071"/>
                  <a:gd name="connsiteY63" fmla="*/ 1657613 h 1691232"/>
                  <a:gd name="connsiteX64" fmla="*/ 1419818 w 1879071"/>
                  <a:gd name="connsiteY64" fmla="*/ 1601492 h 1691232"/>
                  <a:gd name="connsiteX65" fmla="*/ 1470595 w 1879071"/>
                  <a:gd name="connsiteY65" fmla="*/ 1584949 h 1691232"/>
                  <a:gd name="connsiteX66" fmla="*/ 1488274 w 1879071"/>
                  <a:gd name="connsiteY66" fmla="*/ 1640771 h 1691232"/>
                  <a:gd name="connsiteX67" fmla="*/ 1558169 w 1879071"/>
                  <a:gd name="connsiteY67" fmla="*/ 1615093 h 1691232"/>
                  <a:gd name="connsiteX68" fmla="*/ 1588947 w 1879071"/>
                  <a:gd name="connsiteY68" fmla="*/ 1528337 h 1691232"/>
                  <a:gd name="connsiteX69" fmla="*/ 1670383 w 1879071"/>
                  <a:gd name="connsiteY69" fmla="*/ 1438195 h 1691232"/>
                  <a:gd name="connsiteX70" fmla="*/ 1714974 w 1879071"/>
                  <a:gd name="connsiteY70" fmla="*/ 1407065 h 1691232"/>
                  <a:gd name="connsiteX71" fmla="*/ 1743343 w 1879071"/>
                  <a:gd name="connsiteY71" fmla="*/ 1410360 h 1691232"/>
                  <a:gd name="connsiteX72" fmla="*/ 1820935 w 1879071"/>
                  <a:gd name="connsiteY72" fmla="*/ 1399752 h 1691232"/>
                  <a:gd name="connsiteX73" fmla="*/ 1816054 w 1879071"/>
                  <a:gd name="connsiteY73" fmla="*/ 1453316 h 1691232"/>
                  <a:gd name="connsiteX74" fmla="*/ 1874221 w 1879071"/>
                  <a:gd name="connsiteY74" fmla="*/ 1476637 h 1691232"/>
                  <a:gd name="connsiteX75" fmla="*/ 1875829 w 1879071"/>
                  <a:gd name="connsiteY75" fmla="*/ 1454003 h 1691232"/>
                  <a:gd name="connsiteX76" fmla="*/ 1875051 w 1879071"/>
                  <a:gd name="connsiteY76" fmla="*/ 1393269 h 1691232"/>
                  <a:gd name="connsiteX77" fmla="*/ 1853086 w 1879071"/>
                  <a:gd name="connsiteY77" fmla="*/ 1303126 h 1691232"/>
                  <a:gd name="connsiteX78" fmla="*/ 1853086 w 1879071"/>
                  <a:gd name="connsiteY78" fmla="*/ 1245976 h 1691232"/>
                  <a:gd name="connsiteX79" fmla="*/ 1810224 w 1879071"/>
                  <a:gd name="connsiteY79" fmla="*/ 1236451 h 1691232"/>
                  <a:gd name="connsiteX80" fmla="*/ 1734024 w 1879071"/>
                  <a:gd name="connsiteY80" fmla="*/ 1155488 h 1691232"/>
                  <a:gd name="connsiteX81" fmla="*/ 1695924 w 1879071"/>
                  <a:gd name="connsiteY81" fmla="*/ 974513 h 1691232"/>
                  <a:gd name="connsiteX82" fmla="*/ 1643536 w 1879071"/>
                  <a:gd name="connsiteY82" fmla="*/ 941176 h 1691232"/>
                  <a:gd name="connsiteX83" fmla="*/ 1605436 w 1879071"/>
                  <a:gd name="connsiteY83" fmla="*/ 884026 h 1691232"/>
                  <a:gd name="connsiteX84" fmla="*/ 1557811 w 1879071"/>
                  <a:gd name="connsiteY84" fmla="*/ 836401 h 1691232"/>
                  <a:gd name="connsiteX85" fmla="*/ 1505424 w 1879071"/>
                  <a:gd name="connsiteY85" fmla="*/ 817351 h 1691232"/>
                  <a:gd name="connsiteX86" fmla="*/ 1453036 w 1879071"/>
                  <a:gd name="connsiteY86" fmla="*/ 812588 h 1691232"/>
                  <a:gd name="connsiteX87" fmla="*/ 1510186 w 1879071"/>
                  <a:gd name="connsiteY87" fmla="*/ 779251 h 1691232"/>
                  <a:gd name="connsiteX88" fmla="*/ 1476849 w 1879071"/>
                  <a:gd name="connsiteY88" fmla="*/ 745913 h 1691232"/>
                  <a:gd name="connsiteX89" fmla="*/ 1481611 w 1879071"/>
                  <a:gd name="connsiteY89" fmla="*/ 722101 h 1691232"/>
                  <a:gd name="connsiteX90" fmla="*/ 1572099 w 1879071"/>
                  <a:gd name="connsiteY90" fmla="*/ 760201 h 1691232"/>
                  <a:gd name="connsiteX91" fmla="*/ 1624486 w 1879071"/>
                  <a:gd name="connsiteY91" fmla="*/ 693526 h 1691232"/>
                  <a:gd name="connsiteX92" fmla="*/ 1614961 w 1879071"/>
                  <a:gd name="connsiteY92" fmla="*/ 550651 h 1691232"/>
                  <a:gd name="connsiteX93" fmla="*/ 1610199 w 1879071"/>
                  <a:gd name="connsiteY93" fmla="*/ 412538 h 1691232"/>
                  <a:gd name="connsiteX0" fmla="*/ 1610199 w 1881147"/>
                  <a:gd name="connsiteY0" fmla="*/ 412538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10199 w 1881147"/>
                  <a:gd name="connsiteY93" fmla="*/ 412538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14961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19699 w 1881147"/>
                  <a:gd name="connsiteY3" fmla="*/ 317288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67311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38736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325 h 1691232"/>
                  <a:gd name="connsiteX1" fmla="*/ 1567336 w 1881147"/>
                  <a:gd name="connsiteY1" fmla="*/ 369676 h 1691232"/>
                  <a:gd name="connsiteX2" fmla="*/ 1467324 w 1881147"/>
                  <a:gd name="connsiteY2" fmla="*/ 345863 h 1691232"/>
                  <a:gd name="connsiteX3" fmla="*/ 1427021 w 1881147"/>
                  <a:gd name="connsiteY3" fmla="*/ 289204 h 1691232"/>
                  <a:gd name="connsiteX4" fmla="*/ 1379514 w 1881147"/>
                  <a:gd name="connsiteY4" fmla="*/ 160126 h 1691232"/>
                  <a:gd name="connsiteX5" fmla="*/ 1351753 w 1881147"/>
                  <a:gd name="connsiteY5" fmla="*/ 12488 h 1691232"/>
                  <a:gd name="connsiteX6" fmla="*/ 1267299 w 1881147"/>
                  <a:gd name="connsiteY6" fmla="*/ 12488 h 1691232"/>
                  <a:gd name="connsiteX7" fmla="*/ 1214911 w 1881147"/>
                  <a:gd name="connsiteY7" fmla="*/ 50588 h 1691232"/>
                  <a:gd name="connsiteX8" fmla="*/ 1214911 w 1881147"/>
                  <a:gd name="connsiteY8" fmla="*/ 155363 h 1691232"/>
                  <a:gd name="connsiteX9" fmla="*/ 1186336 w 1881147"/>
                  <a:gd name="connsiteY9" fmla="*/ 183938 h 1691232"/>
                  <a:gd name="connsiteX10" fmla="*/ 1176811 w 1881147"/>
                  <a:gd name="connsiteY10" fmla="*/ 255376 h 1691232"/>
                  <a:gd name="connsiteX11" fmla="*/ 1114899 w 1881147"/>
                  <a:gd name="connsiteY11" fmla="*/ 298238 h 1691232"/>
                  <a:gd name="connsiteX12" fmla="*/ 1005361 w 1881147"/>
                  <a:gd name="connsiteY12" fmla="*/ 312526 h 1691232"/>
                  <a:gd name="connsiteX13" fmla="*/ 962499 w 1881147"/>
                  <a:gd name="connsiteY13" fmla="*/ 355388 h 1691232"/>
                  <a:gd name="connsiteX14" fmla="*/ 838674 w 1881147"/>
                  <a:gd name="connsiteY14" fmla="*/ 355388 h 1691232"/>
                  <a:gd name="connsiteX15" fmla="*/ 781524 w 1881147"/>
                  <a:gd name="connsiteY15" fmla="*/ 426826 h 1691232"/>
                  <a:gd name="connsiteX16" fmla="*/ 781524 w 1881147"/>
                  <a:gd name="connsiteY16" fmla="*/ 460163 h 1691232"/>
                  <a:gd name="connsiteX17" fmla="*/ 743424 w 1881147"/>
                  <a:gd name="connsiteY17" fmla="*/ 483976 h 1691232"/>
                  <a:gd name="connsiteX18" fmla="*/ 671986 w 1881147"/>
                  <a:gd name="connsiteY18" fmla="*/ 417301 h 1691232"/>
                  <a:gd name="connsiteX19" fmla="*/ 519586 w 1881147"/>
                  <a:gd name="connsiteY19" fmla="*/ 412538 h 1691232"/>
                  <a:gd name="connsiteX20" fmla="*/ 457674 w 1881147"/>
                  <a:gd name="connsiteY20" fmla="*/ 431588 h 1691232"/>
                  <a:gd name="connsiteX21" fmla="*/ 419574 w 1881147"/>
                  <a:gd name="connsiteY21" fmla="*/ 417301 h 1691232"/>
                  <a:gd name="connsiteX22" fmla="*/ 400524 w 1881147"/>
                  <a:gd name="connsiteY22" fmla="*/ 355388 h 1691232"/>
                  <a:gd name="connsiteX23" fmla="*/ 333849 w 1881147"/>
                  <a:gd name="connsiteY23" fmla="*/ 303001 h 1691232"/>
                  <a:gd name="connsiteX24" fmla="*/ 286224 w 1881147"/>
                  <a:gd name="connsiteY24" fmla="*/ 236326 h 1691232"/>
                  <a:gd name="connsiteX25" fmla="*/ 143349 w 1881147"/>
                  <a:gd name="connsiteY25" fmla="*/ 255376 h 1691232"/>
                  <a:gd name="connsiteX26" fmla="*/ 124299 w 1881147"/>
                  <a:gd name="connsiteY26" fmla="*/ 331576 h 1691232"/>
                  <a:gd name="connsiteX27" fmla="*/ 110011 w 1881147"/>
                  <a:gd name="connsiteY27" fmla="*/ 364913 h 1691232"/>
                  <a:gd name="connsiteX28" fmla="*/ 133824 w 1881147"/>
                  <a:gd name="connsiteY28" fmla="*/ 412538 h 1691232"/>
                  <a:gd name="connsiteX29" fmla="*/ 81436 w 1881147"/>
                  <a:gd name="connsiteY29" fmla="*/ 450638 h 1691232"/>
                  <a:gd name="connsiteX30" fmla="*/ 33811 w 1881147"/>
                  <a:gd name="connsiteY30" fmla="*/ 445876 h 1691232"/>
                  <a:gd name="connsiteX31" fmla="*/ 33811 w 1881147"/>
                  <a:gd name="connsiteY31" fmla="*/ 517313 h 1691232"/>
                  <a:gd name="connsiteX32" fmla="*/ 474 w 1881147"/>
                  <a:gd name="connsiteY32" fmla="*/ 622088 h 1691232"/>
                  <a:gd name="connsiteX33" fmla="*/ 62386 w 1881147"/>
                  <a:gd name="connsiteY33" fmla="*/ 698288 h 1691232"/>
                  <a:gd name="connsiteX34" fmla="*/ 111977 w 1881147"/>
                  <a:gd name="connsiteY34" fmla="*/ 678550 h 1691232"/>
                  <a:gd name="connsiteX35" fmla="*/ 112334 w 1881147"/>
                  <a:gd name="connsiteY35" fmla="*/ 748809 h 1691232"/>
                  <a:gd name="connsiteX36" fmla="*/ 167161 w 1881147"/>
                  <a:gd name="connsiteY36" fmla="*/ 779251 h 1691232"/>
                  <a:gd name="connsiteX37" fmla="*/ 236159 w 1881147"/>
                  <a:gd name="connsiteY37" fmla="*/ 789463 h 1691232"/>
                  <a:gd name="connsiteX38" fmla="*/ 271462 w 1881147"/>
                  <a:gd name="connsiteY38" fmla="*/ 845434 h 1691232"/>
                  <a:gd name="connsiteX39" fmla="*/ 270869 w 1881147"/>
                  <a:gd name="connsiteY39" fmla="*/ 890506 h 1691232"/>
                  <a:gd name="connsiteX40" fmla="*/ 295393 w 1881147"/>
                  <a:gd name="connsiteY40" fmla="*/ 929981 h 1691232"/>
                  <a:gd name="connsiteX41" fmla="*/ 341051 w 1881147"/>
                  <a:gd name="connsiteY41" fmla="*/ 968573 h 1691232"/>
                  <a:gd name="connsiteX42" fmla="*/ 426184 w 1881147"/>
                  <a:gd name="connsiteY42" fmla="*/ 1022825 h 1691232"/>
                  <a:gd name="connsiteX43" fmla="*/ 461961 w 1881147"/>
                  <a:gd name="connsiteY43" fmla="*/ 1093918 h 1691232"/>
                  <a:gd name="connsiteX44" fmla="*/ 441064 w 1881147"/>
                  <a:gd name="connsiteY44" fmla="*/ 1163491 h 1691232"/>
                  <a:gd name="connsiteX45" fmla="*/ 519111 w 1881147"/>
                  <a:gd name="connsiteY45" fmla="*/ 1219954 h 1691232"/>
                  <a:gd name="connsiteX46" fmla="*/ 591143 w 1881147"/>
                  <a:gd name="connsiteY46" fmla="*/ 1252948 h 1691232"/>
                  <a:gd name="connsiteX47" fmla="*/ 571974 w 1881147"/>
                  <a:gd name="connsiteY47" fmla="*/ 1312651 h 1691232"/>
                  <a:gd name="connsiteX48" fmla="*/ 662461 w 1881147"/>
                  <a:gd name="connsiteY48" fmla="*/ 1465051 h 1691232"/>
                  <a:gd name="connsiteX49" fmla="*/ 755271 w 1881147"/>
                  <a:gd name="connsiteY49" fmla="*/ 1538205 h 1691232"/>
                  <a:gd name="connsiteX50" fmla="*/ 805336 w 1881147"/>
                  <a:gd name="connsiteY50" fmla="*/ 1488863 h 1691232"/>
                  <a:gd name="connsiteX51" fmla="*/ 869926 w 1881147"/>
                  <a:gd name="connsiteY51" fmla="*/ 1516260 h 1691232"/>
                  <a:gd name="connsiteX52" fmla="*/ 924399 w 1881147"/>
                  <a:gd name="connsiteY52" fmla="*/ 1484101 h 1691232"/>
                  <a:gd name="connsiteX53" fmla="*/ 941246 w 1881147"/>
                  <a:gd name="connsiteY53" fmla="*/ 1441925 h 1691232"/>
                  <a:gd name="connsiteX54" fmla="*/ 1005123 w 1881147"/>
                  <a:gd name="connsiteY54" fmla="*/ 1528337 h 1691232"/>
                  <a:gd name="connsiteX55" fmla="*/ 1050190 w 1881147"/>
                  <a:gd name="connsiteY55" fmla="*/ 1599431 h 1691232"/>
                  <a:gd name="connsiteX56" fmla="*/ 1120136 w 1881147"/>
                  <a:gd name="connsiteY56" fmla="*/ 1690950 h 1691232"/>
                  <a:gd name="connsiteX57" fmla="*/ 1151034 w 1881147"/>
                  <a:gd name="connsiteY57" fmla="*/ 1627859 h 1691232"/>
                  <a:gd name="connsiteX58" fmla="*/ 1181693 w 1881147"/>
                  <a:gd name="connsiteY58" fmla="*/ 1621379 h 1691232"/>
                  <a:gd name="connsiteX59" fmla="*/ 1224792 w 1881147"/>
                  <a:gd name="connsiteY59" fmla="*/ 1650642 h 1691232"/>
                  <a:gd name="connsiteX60" fmla="*/ 1258367 w 1881147"/>
                  <a:gd name="connsiteY60" fmla="*/ 1609988 h 1691232"/>
                  <a:gd name="connsiteX61" fmla="*/ 1277188 w 1881147"/>
                  <a:gd name="connsiteY61" fmla="*/ 1614605 h 1691232"/>
                  <a:gd name="connsiteX62" fmla="*/ 1311230 w 1881147"/>
                  <a:gd name="connsiteY62" fmla="*/ 1681082 h 1691232"/>
                  <a:gd name="connsiteX63" fmla="*/ 1367786 w 1881147"/>
                  <a:gd name="connsiteY63" fmla="*/ 1657613 h 1691232"/>
                  <a:gd name="connsiteX64" fmla="*/ 1419818 w 1881147"/>
                  <a:gd name="connsiteY64" fmla="*/ 1601492 h 1691232"/>
                  <a:gd name="connsiteX65" fmla="*/ 1470595 w 1881147"/>
                  <a:gd name="connsiteY65" fmla="*/ 1584949 h 1691232"/>
                  <a:gd name="connsiteX66" fmla="*/ 1488274 w 1881147"/>
                  <a:gd name="connsiteY66" fmla="*/ 1640771 h 1691232"/>
                  <a:gd name="connsiteX67" fmla="*/ 1558169 w 1881147"/>
                  <a:gd name="connsiteY67" fmla="*/ 1615093 h 1691232"/>
                  <a:gd name="connsiteX68" fmla="*/ 1588947 w 1881147"/>
                  <a:gd name="connsiteY68" fmla="*/ 1528337 h 1691232"/>
                  <a:gd name="connsiteX69" fmla="*/ 1670383 w 1881147"/>
                  <a:gd name="connsiteY69" fmla="*/ 1438195 h 1691232"/>
                  <a:gd name="connsiteX70" fmla="*/ 1714974 w 1881147"/>
                  <a:gd name="connsiteY70" fmla="*/ 1407065 h 1691232"/>
                  <a:gd name="connsiteX71" fmla="*/ 1743343 w 1881147"/>
                  <a:gd name="connsiteY71" fmla="*/ 1410360 h 1691232"/>
                  <a:gd name="connsiteX72" fmla="*/ 1820935 w 1881147"/>
                  <a:gd name="connsiteY72" fmla="*/ 1399752 h 1691232"/>
                  <a:gd name="connsiteX73" fmla="*/ 1816054 w 1881147"/>
                  <a:gd name="connsiteY73" fmla="*/ 1453316 h 1691232"/>
                  <a:gd name="connsiteX74" fmla="*/ 1874221 w 1881147"/>
                  <a:gd name="connsiteY74" fmla="*/ 1476637 h 1691232"/>
                  <a:gd name="connsiteX75" fmla="*/ 1875829 w 1881147"/>
                  <a:gd name="connsiteY75" fmla="*/ 1454003 h 1691232"/>
                  <a:gd name="connsiteX76" fmla="*/ 1875051 w 1881147"/>
                  <a:gd name="connsiteY76" fmla="*/ 1393269 h 1691232"/>
                  <a:gd name="connsiteX77" fmla="*/ 1853086 w 1881147"/>
                  <a:gd name="connsiteY77" fmla="*/ 1303126 h 1691232"/>
                  <a:gd name="connsiteX78" fmla="*/ 1853086 w 1881147"/>
                  <a:gd name="connsiteY78" fmla="*/ 1245976 h 1691232"/>
                  <a:gd name="connsiteX79" fmla="*/ 1810224 w 1881147"/>
                  <a:gd name="connsiteY79" fmla="*/ 1236451 h 1691232"/>
                  <a:gd name="connsiteX80" fmla="*/ 1734024 w 1881147"/>
                  <a:gd name="connsiteY80" fmla="*/ 1155488 h 1691232"/>
                  <a:gd name="connsiteX81" fmla="*/ 1695924 w 1881147"/>
                  <a:gd name="connsiteY81" fmla="*/ 974513 h 1691232"/>
                  <a:gd name="connsiteX82" fmla="*/ 1643536 w 1881147"/>
                  <a:gd name="connsiteY82" fmla="*/ 941176 h 1691232"/>
                  <a:gd name="connsiteX83" fmla="*/ 1605436 w 1881147"/>
                  <a:gd name="connsiteY83" fmla="*/ 884026 h 1691232"/>
                  <a:gd name="connsiteX84" fmla="*/ 1557811 w 1881147"/>
                  <a:gd name="connsiteY84" fmla="*/ 836401 h 1691232"/>
                  <a:gd name="connsiteX85" fmla="*/ 1505424 w 1881147"/>
                  <a:gd name="connsiteY85" fmla="*/ 817351 h 1691232"/>
                  <a:gd name="connsiteX86" fmla="*/ 1453036 w 1881147"/>
                  <a:gd name="connsiteY86" fmla="*/ 812588 h 1691232"/>
                  <a:gd name="connsiteX87" fmla="*/ 1510186 w 1881147"/>
                  <a:gd name="connsiteY87" fmla="*/ 779251 h 1691232"/>
                  <a:gd name="connsiteX88" fmla="*/ 1476849 w 1881147"/>
                  <a:gd name="connsiteY88" fmla="*/ 745913 h 1691232"/>
                  <a:gd name="connsiteX89" fmla="*/ 1481611 w 1881147"/>
                  <a:gd name="connsiteY89" fmla="*/ 722101 h 1691232"/>
                  <a:gd name="connsiteX90" fmla="*/ 1572099 w 1881147"/>
                  <a:gd name="connsiteY90" fmla="*/ 760201 h 1691232"/>
                  <a:gd name="connsiteX91" fmla="*/ 1624486 w 1881147"/>
                  <a:gd name="connsiteY91" fmla="*/ 693526 h 1691232"/>
                  <a:gd name="connsiteX92" fmla="*/ 1622283 w 1881147"/>
                  <a:gd name="connsiteY92" fmla="*/ 550651 h 1691232"/>
                  <a:gd name="connsiteX93" fmla="*/ 1639486 w 1881147"/>
                  <a:gd name="connsiteY93" fmla="*/ 402325 h 1691232"/>
                  <a:gd name="connsiteX0" fmla="*/ 1639486 w 1881147"/>
                  <a:gd name="connsiteY0" fmla="*/ 402822 h 1691729"/>
                  <a:gd name="connsiteX1" fmla="*/ 1567336 w 1881147"/>
                  <a:gd name="connsiteY1" fmla="*/ 370173 h 1691729"/>
                  <a:gd name="connsiteX2" fmla="*/ 1467324 w 1881147"/>
                  <a:gd name="connsiteY2" fmla="*/ 346360 h 1691729"/>
                  <a:gd name="connsiteX3" fmla="*/ 1427021 w 1881147"/>
                  <a:gd name="connsiteY3" fmla="*/ 289701 h 1691729"/>
                  <a:gd name="connsiteX4" fmla="*/ 1395785 w 1881147"/>
                  <a:gd name="connsiteY4" fmla="*/ 167431 h 1691729"/>
                  <a:gd name="connsiteX5" fmla="*/ 1351753 w 1881147"/>
                  <a:gd name="connsiteY5" fmla="*/ 12985 h 1691729"/>
                  <a:gd name="connsiteX6" fmla="*/ 1267299 w 1881147"/>
                  <a:gd name="connsiteY6" fmla="*/ 12985 h 1691729"/>
                  <a:gd name="connsiteX7" fmla="*/ 1214911 w 1881147"/>
                  <a:gd name="connsiteY7" fmla="*/ 51085 h 1691729"/>
                  <a:gd name="connsiteX8" fmla="*/ 1214911 w 1881147"/>
                  <a:gd name="connsiteY8" fmla="*/ 155860 h 1691729"/>
                  <a:gd name="connsiteX9" fmla="*/ 1186336 w 1881147"/>
                  <a:gd name="connsiteY9" fmla="*/ 184435 h 1691729"/>
                  <a:gd name="connsiteX10" fmla="*/ 1176811 w 1881147"/>
                  <a:gd name="connsiteY10" fmla="*/ 255873 h 1691729"/>
                  <a:gd name="connsiteX11" fmla="*/ 1114899 w 1881147"/>
                  <a:gd name="connsiteY11" fmla="*/ 298735 h 1691729"/>
                  <a:gd name="connsiteX12" fmla="*/ 1005361 w 1881147"/>
                  <a:gd name="connsiteY12" fmla="*/ 313023 h 1691729"/>
                  <a:gd name="connsiteX13" fmla="*/ 962499 w 1881147"/>
                  <a:gd name="connsiteY13" fmla="*/ 355885 h 1691729"/>
                  <a:gd name="connsiteX14" fmla="*/ 838674 w 1881147"/>
                  <a:gd name="connsiteY14" fmla="*/ 355885 h 1691729"/>
                  <a:gd name="connsiteX15" fmla="*/ 781524 w 1881147"/>
                  <a:gd name="connsiteY15" fmla="*/ 427323 h 1691729"/>
                  <a:gd name="connsiteX16" fmla="*/ 781524 w 1881147"/>
                  <a:gd name="connsiteY16" fmla="*/ 460660 h 1691729"/>
                  <a:gd name="connsiteX17" fmla="*/ 743424 w 1881147"/>
                  <a:gd name="connsiteY17" fmla="*/ 484473 h 1691729"/>
                  <a:gd name="connsiteX18" fmla="*/ 671986 w 1881147"/>
                  <a:gd name="connsiteY18" fmla="*/ 417798 h 1691729"/>
                  <a:gd name="connsiteX19" fmla="*/ 519586 w 1881147"/>
                  <a:gd name="connsiteY19" fmla="*/ 413035 h 1691729"/>
                  <a:gd name="connsiteX20" fmla="*/ 457674 w 1881147"/>
                  <a:gd name="connsiteY20" fmla="*/ 432085 h 1691729"/>
                  <a:gd name="connsiteX21" fmla="*/ 419574 w 1881147"/>
                  <a:gd name="connsiteY21" fmla="*/ 417798 h 1691729"/>
                  <a:gd name="connsiteX22" fmla="*/ 400524 w 1881147"/>
                  <a:gd name="connsiteY22" fmla="*/ 355885 h 1691729"/>
                  <a:gd name="connsiteX23" fmla="*/ 333849 w 1881147"/>
                  <a:gd name="connsiteY23" fmla="*/ 303498 h 1691729"/>
                  <a:gd name="connsiteX24" fmla="*/ 286224 w 1881147"/>
                  <a:gd name="connsiteY24" fmla="*/ 236823 h 1691729"/>
                  <a:gd name="connsiteX25" fmla="*/ 143349 w 1881147"/>
                  <a:gd name="connsiteY25" fmla="*/ 255873 h 1691729"/>
                  <a:gd name="connsiteX26" fmla="*/ 124299 w 1881147"/>
                  <a:gd name="connsiteY26" fmla="*/ 332073 h 1691729"/>
                  <a:gd name="connsiteX27" fmla="*/ 110011 w 1881147"/>
                  <a:gd name="connsiteY27" fmla="*/ 365410 h 1691729"/>
                  <a:gd name="connsiteX28" fmla="*/ 133824 w 1881147"/>
                  <a:gd name="connsiteY28" fmla="*/ 413035 h 1691729"/>
                  <a:gd name="connsiteX29" fmla="*/ 81436 w 1881147"/>
                  <a:gd name="connsiteY29" fmla="*/ 451135 h 1691729"/>
                  <a:gd name="connsiteX30" fmla="*/ 33811 w 1881147"/>
                  <a:gd name="connsiteY30" fmla="*/ 446373 h 1691729"/>
                  <a:gd name="connsiteX31" fmla="*/ 33811 w 1881147"/>
                  <a:gd name="connsiteY31" fmla="*/ 517810 h 1691729"/>
                  <a:gd name="connsiteX32" fmla="*/ 474 w 1881147"/>
                  <a:gd name="connsiteY32" fmla="*/ 622585 h 1691729"/>
                  <a:gd name="connsiteX33" fmla="*/ 62386 w 1881147"/>
                  <a:gd name="connsiteY33" fmla="*/ 698785 h 1691729"/>
                  <a:gd name="connsiteX34" fmla="*/ 111977 w 1881147"/>
                  <a:gd name="connsiteY34" fmla="*/ 679047 h 1691729"/>
                  <a:gd name="connsiteX35" fmla="*/ 112334 w 1881147"/>
                  <a:gd name="connsiteY35" fmla="*/ 749306 h 1691729"/>
                  <a:gd name="connsiteX36" fmla="*/ 167161 w 1881147"/>
                  <a:gd name="connsiteY36" fmla="*/ 779748 h 1691729"/>
                  <a:gd name="connsiteX37" fmla="*/ 236159 w 1881147"/>
                  <a:gd name="connsiteY37" fmla="*/ 789960 h 1691729"/>
                  <a:gd name="connsiteX38" fmla="*/ 271462 w 1881147"/>
                  <a:gd name="connsiteY38" fmla="*/ 845931 h 1691729"/>
                  <a:gd name="connsiteX39" fmla="*/ 270869 w 1881147"/>
                  <a:gd name="connsiteY39" fmla="*/ 891003 h 1691729"/>
                  <a:gd name="connsiteX40" fmla="*/ 295393 w 1881147"/>
                  <a:gd name="connsiteY40" fmla="*/ 930478 h 1691729"/>
                  <a:gd name="connsiteX41" fmla="*/ 341051 w 1881147"/>
                  <a:gd name="connsiteY41" fmla="*/ 969070 h 1691729"/>
                  <a:gd name="connsiteX42" fmla="*/ 426184 w 1881147"/>
                  <a:gd name="connsiteY42" fmla="*/ 1023322 h 1691729"/>
                  <a:gd name="connsiteX43" fmla="*/ 461961 w 1881147"/>
                  <a:gd name="connsiteY43" fmla="*/ 1094415 h 1691729"/>
                  <a:gd name="connsiteX44" fmla="*/ 441064 w 1881147"/>
                  <a:gd name="connsiteY44" fmla="*/ 1163988 h 1691729"/>
                  <a:gd name="connsiteX45" fmla="*/ 519111 w 1881147"/>
                  <a:gd name="connsiteY45" fmla="*/ 1220451 h 1691729"/>
                  <a:gd name="connsiteX46" fmla="*/ 591143 w 1881147"/>
                  <a:gd name="connsiteY46" fmla="*/ 1253445 h 1691729"/>
                  <a:gd name="connsiteX47" fmla="*/ 571974 w 1881147"/>
                  <a:gd name="connsiteY47" fmla="*/ 1313148 h 1691729"/>
                  <a:gd name="connsiteX48" fmla="*/ 662461 w 1881147"/>
                  <a:gd name="connsiteY48" fmla="*/ 1465548 h 1691729"/>
                  <a:gd name="connsiteX49" fmla="*/ 755271 w 1881147"/>
                  <a:gd name="connsiteY49" fmla="*/ 1538702 h 1691729"/>
                  <a:gd name="connsiteX50" fmla="*/ 805336 w 1881147"/>
                  <a:gd name="connsiteY50" fmla="*/ 1489360 h 1691729"/>
                  <a:gd name="connsiteX51" fmla="*/ 869926 w 1881147"/>
                  <a:gd name="connsiteY51" fmla="*/ 1516757 h 1691729"/>
                  <a:gd name="connsiteX52" fmla="*/ 924399 w 1881147"/>
                  <a:gd name="connsiteY52" fmla="*/ 1484598 h 1691729"/>
                  <a:gd name="connsiteX53" fmla="*/ 941246 w 1881147"/>
                  <a:gd name="connsiteY53" fmla="*/ 1442422 h 1691729"/>
                  <a:gd name="connsiteX54" fmla="*/ 1005123 w 1881147"/>
                  <a:gd name="connsiteY54" fmla="*/ 1528834 h 1691729"/>
                  <a:gd name="connsiteX55" fmla="*/ 1050190 w 1881147"/>
                  <a:gd name="connsiteY55" fmla="*/ 1599928 h 1691729"/>
                  <a:gd name="connsiteX56" fmla="*/ 1120136 w 1881147"/>
                  <a:gd name="connsiteY56" fmla="*/ 1691447 h 1691729"/>
                  <a:gd name="connsiteX57" fmla="*/ 1151034 w 1881147"/>
                  <a:gd name="connsiteY57" fmla="*/ 1628356 h 1691729"/>
                  <a:gd name="connsiteX58" fmla="*/ 1181693 w 1881147"/>
                  <a:gd name="connsiteY58" fmla="*/ 1621876 h 1691729"/>
                  <a:gd name="connsiteX59" fmla="*/ 1224792 w 1881147"/>
                  <a:gd name="connsiteY59" fmla="*/ 1651139 h 1691729"/>
                  <a:gd name="connsiteX60" fmla="*/ 1258367 w 1881147"/>
                  <a:gd name="connsiteY60" fmla="*/ 1610485 h 1691729"/>
                  <a:gd name="connsiteX61" fmla="*/ 1277188 w 1881147"/>
                  <a:gd name="connsiteY61" fmla="*/ 1615102 h 1691729"/>
                  <a:gd name="connsiteX62" fmla="*/ 1311230 w 1881147"/>
                  <a:gd name="connsiteY62" fmla="*/ 1681579 h 1691729"/>
                  <a:gd name="connsiteX63" fmla="*/ 1367786 w 1881147"/>
                  <a:gd name="connsiteY63" fmla="*/ 1658110 h 1691729"/>
                  <a:gd name="connsiteX64" fmla="*/ 1419818 w 1881147"/>
                  <a:gd name="connsiteY64" fmla="*/ 1601989 h 1691729"/>
                  <a:gd name="connsiteX65" fmla="*/ 1470595 w 1881147"/>
                  <a:gd name="connsiteY65" fmla="*/ 1585446 h 1691729"/>
                  <a:gd name="connsiteX66" fmla="*/ 1488274 w 1881147"/>
                  <a:gd name="connsiteY66" fmla="*/ 1641268 h 1691729"/>
                  <a:gd name="connsiteX67" fmla="*/ 1558169 w 1881147"/>
                  <a:gd name="connsiteY67" fmla="*/ 1615590 h 1691729"/>
                  <a:gd name="connsiteX68" fmla="*/ 1588947 w 1881147"/>
                  <a:gd name="connsiteY68" fmla="*/ 1528834 h 1691729"/>
                  <a:gd name="connsiteX69" fmla="*/ 1670383 w 1881147"/>
                  <a:gd name="connsiteY69" fmla="*/ 1438692 h 1691729"/>
                  <a:gd name="connsiteX70" fmla="*/ 1714974 w 1881147"/>
                  <a:gd name="connsiteY70" fmla="*/ 1407562 h 1691729"/>
                  <a:gd name="connsiteX71" fmla="*/ 1743343 w 1881147"/>
                  <a:gd name="connsiteY71" fmla="*/ 1410857 h 1691729"/>
                  <a:gd name="connsiteX72" fmla="*/ 1820935 w 1881147"/>
                  <a:gd name="connsiteY72" fmla="*/ 1400249 h 1691729"/>
                  <a:gd name="connsiteX73" fmla="*/ 1816054 w 1881147"/>
                  <a:gd name="connsiteY73" fmla="*/ 1453813 h 1691729"/>
                  <a:gd name="connsiteX74" fmla="*/ 1874221 w 1881147"/>
                  <a:gd name="connsiteY74" fmla="*/ 1477134 h 1691729"/>
                  <a:gd name="connsiteX75" fmla="*/ 1875829 w 1881147"/>
                  <a:gd name="connsiteY75" fmla="*/ 1454500 h 1691729"/>
                  <a:gd name="connsiteX76" fmla="*/ 1875051 w 1881147"/>
                  <a:gd name="connsiteY76" fmla="*/ 1393766 h 1691729"/>
                  <a:gd name="connsiteX77" fmla="*/ 1853086 w 1881147"/>
                  <a:gd name="connsiteY77" fmla="*/ 1303623 h 1691729"/>
                  <a:gd name="connsiteX78" fmla="*/ 1853086 w 1881147"/>
                  <a:gd name="connsiteY78" fmla="*/ 1246473 h 1691729"/>
                  <a:gd name="connsiteX79" fmla="*/ 1810224 w 1881147"/>
                  <a:gd name="connsiteY79" fmla="*/ 1236948 h 1691729"/>
                  <a:gd name="connsiteX80" fmla="*/ 1734024 w 1881147"/>
                  <a:gd name="connsiteY80" fmla="*/ 1155985 h 1691729"/>
                  <a:gd name="connsiteX81" fmla="*/ 1695924 w 1881147"/>
                  <a:gd name="connsiteY81" fmla="*/ 975010 h 1691729"/>
                  <a:gd name="connsiteX82" fmla="*/ 1643536 w 1881147"/>
                  <a:gd name="connsiteY82" fmla="*/ 941673 h 1691729"/>
                  <a:gd name="connsiteX83" fmla="*/ 1605436 w 1881147"/>
                  <a:gd name="connsiteY83" fmla="*/ 884523 h 1691729"/>
                  <a:gd name="connsiteX84" fmla="*/ 1557811 w 1881147"/>
                  <a:gd name="connsiteY84" fmla="*/ 836898 h 1691729"/>
                  <a:gd name="connsiteX85" fmla="*/ 1505424 w 1881147"/>
                  <a:gd name="connsiteY85" fmla="*/ 817848 h 1691729"/>
                  <a:gd name="connsiteX86" fmla="*/ 1453036 w 1881147"/>
                  <a:gd name="connsiteY86" fmla="*/ 813085 h 1691729"/>
                  <a:gd name="connsiteX87" fmla="*/ 1510186 w 1881147"/>
                  <a:gd name="connsiteY87" fmla="*/ 779748 h 1691729"/>
                  <a:gd name="connsiteX88" fmla="*/ 1476849 w 1881147"/>
                  <a:gd name="connsiteY88" fmla="*/ 746410 h 1691729"/>
                  <a:gd name="connsiteX89" fmla="*/ 1481611 w 1881147"/>
                  <a:gd name="connsiteY89" fmla="*/ 722598 h 1691729"/>
                  <a:gd name="connsiteX90" fmla="*/ 1572099 w 1881147"/>
                  <a:gd name="connsiteY90" fmla="*/ 760698 h 1691729"/>
                  <a:gd name="connsiteX91" fmla="*/ 1624486 w 1881147"/>
                  <a:gd name="connsiteY91" fmla="*/ 694023 h 1691729"/>
                  <a:gd name="connsiteX92" fmla="*/ 1622283 w 1881147"/>
                  <a:gd name="connsiteY92" fmla="*/ 551148 h 1691729"/>
                  <a:gd name="connsiteX93" fmla="*/ 1639486 w 1881147"/>
                  <a:gd name="connsiteY93" fmla="*/ 402822 h 1691729"/>
                  <a:gd name="connsiteX0" fmla="*/ 1639486 w 1881147"/>
                  <a:gd name="connsiteY0" fmla="*/ 402823 h 1691730"/>
                  <a:gd name="connsiteX1" fmla="*/ 1567336 w 1881147"/>
                  <a:gd name="connsiteY1" fmla="*/ 370174 h 1691730"/>
                  <a:gd name="connsiteX2" fmla="*/ 1467324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36784 w 1881147"/>
                  <a:gd name="connsiteY3" fmla="*/ 279489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2823 h 1691730"/>
                  <a:gd name="connsiteX1" fmla="*/ 1567336 w 1881147"/>
                  <a:gd name="connsiteY1" fmla="*/ 370174 h 1691730"/>
                  <a:gd name="connsiteX2" fmla="*/ 1477087 w 1881147"/>
                  <a:gd name="connsiteY2" fmla="*/ 346361 h 1691730"/>
                  <a:gd name="connsiteX3" fmla="*/ 1423767 w 1881147"/>
                  <a:gd name="connsiteY3" fmla="*/ 269277 h 1691730"/>
                  <a:gd name="connsiteX4" fmla="*/ 1395785 w 1881147"/>
                  <a:gd name="connsiteY4" fmla="*/ 167432 h 1691730"/>
                  <a:gd name="connsiteX5" fmla="*/ 1351753 w 1881147"/>
                  <a:gd name="connsiteY5" fmla="*/ 12986 h 1691730"/>
                  <a:gd name="connsiteX6" fmla="*/ 1267299 w 1881147"/>
                  <a:gd name="connsiteY6" fmla="*/ 12986 h 1691730"/>
                  <a:gd name="connsiteX7" fmla="*/ 1214911 w 1881147"/>
                  <a:gd name="connsiteY7" fmla="*/ 51086 h 1691730"/>
                  <a:gd name="connsiteX8" fmla="*/ 1214911 w 1881147"/>
                  <a:gd name="connsiteY8" fmla="*/ 155861 h 1691730"/>
                  <a:gd name="connsiteX9" fmla="*/ 1186336 w 1881147"/>
                  <a:gd name="connsiteY9" fmla="*/ 184436 h 1691730"/>
                  <a:gd name="connsiteX10" fmla="*/ 1176811 w 1881147"/>
                  <a:gd name="connsiteY10" fmla="*/ 255874 h 1691730"/>
                  <a:gd name="connsiteX11" fmla="*/ 1114899 w 1881147"/>
                  <a:gd name="connsiteY11" fmla="*/ 298736 h 1691730"/>
                  <a:gd name="connsiteX12" fmla="*/ 1005361 w 1881147"/>
                  <a:gd name="connsiteY12" fmla="*/ 313024 h 1691730"/>
                  <a:gd name="connsiteX13" fmla="*/ 962499 w 1881147"/>
                  <a:gd name="connsiteY13" fmla="*/ 355886 h 1691730"/>
                  <a:gd name="connsiteX14" fmla="*/ 838674 w 1881147"/>
                  <a:gd name="connsiteY14" fmla="*/ 355886 h 1691730"/>
                  <a:gd name="connsiteX15" fmla="*/ 781524 w 1881147"/>
                  <a:gd name="connsiteY15" fmla="*/ 427324 h 1691730"/>
                  <a:gd name="connsiteX16" fmla="*/ 781524 w 1881147"/>
                  <a:gd name="connsiteY16" fmla="*/ 460661 h 1691730"/>
                  <a:gd name="connsiteX17" fmla="*/ 743424 w 1881147"/>
                  <a:gd name="connsiteY17" fmla="*/ 484474 h 1691730"/>
                  <a:gd name="connsiteX18" fmla="*/ 671986 w 1881147"/>
                  <a:gd name="connsiteY18" fmla="*/ 417799 h 1691730"/>
                  <a:gd name="connsiteX19" fmla="*/ 519586 w 1881147"/>
                  <a:gd name="connsiteY19" fmla="*/ 413036 h 1691730"/>
                  <a:gd name="connsiteX20" fmla="*/ 457674 w 1881147"/>
                  <a:gd name="connsiteY20" fmla="*/ 432086 h 1691730"/>
                  <a:gd name="connsiteX21" fmla="*/ 419574 w 1881147"/>
                  <a:gd name="connsiteY21" fmla="*/ 417799 h 1691730"/>
                  <a:gd name="connsiteX22" fmla="*/ 400524 w 1881147"/>
                  <a:gd name="connsiteY22" fmla="*/ 355886 h 1691730"/>
                  <a:gd name="connsiteX23" fmla="*/ 333849 w 1881147"/>
                  <a:gd name="connsiteY23" fmla="*/ 303499 h 1691730"/>
                  <a:gd name="connsiteX24" fmla="*/ 286224 w 1881147"/>
                  <a:gd name="connsiteY24" fmla="*/ 236824 h 1691730"/>
                  <a:gd name="connsiteX25" fmla="*/ 143349 w 1881147"/>
                  <a:gd name="connsiteY25" fmla="*/ 255874 h 1691730"/>
                  <a:gd name="connsiteX26" fmla="*/ 124299 w 1881147"/>
                  <a:gd name="connsiteY26" fmla="*/ 332074 h 1691730"/>
                  <a:gd name="connsiteX27" fmla="*/ 110011 w 1881147"/>
                  <a:gd name="connsiteY27" fmla="*/ 365411 h 1691730"/>
                  <a:gd name="connsiteX28" fmla="*/ 133824 w 1881147"/>
                  <a:gd name="connsiteY28" fmla="*/ 413036 h 1691730"/>
                  <a:gd name="connsiteX29" fmla="*/ 81436 w 1881147"/>
                  <a:gd name="connsiteY29" fmla="*/ 451136 h 1691730"/>
                  <a:gd name="connsiteX30" fmla="*/ 33811 w 1881147"/>
                  <a:gd name="connsiteY30" fmla="*/ 446374 h 1691730"/>
                  <a:gd name="connsiteX31" fmla="*/ 33811 w 1881147"/>
                  <a:gd name="connsiteY31" fmla="*/ 517811 h 1691730"/>
                  <a:gd name="connsiteX32" fmla="*/ 474 w 1881147"/>
                  <a:gd name="connsiteY32" fmla="*/ 622586 h 1691730"/>
                  <a:gd name="connsiteX33" fmla="*/ 62386 w 1881147"/>
                  <a:gd name="connsiteY33" fmla="*/ 698786 h 1691730"/>
                  <a:gd name="connsiteX34" fmla="*/ 111977 w 1881147"/>
                  <a:gd name="connsiteY34" fmla="*/ 679048 h 1691730"/>
                  <a:gd name="connsiteX35" fmla="*/ 112334 w 1881147"/>
                  <a:gd name="connsiteY35" fmla="*/ 749307 h 1691730"/>
                  <a:gd name="connsiteX36" fmla="*/ 167161 w 1881147"/>
                  <a:gd name="connsiteY36" fmla="*/ 779749 h 1691730"/>
                  <a:gd name="connsiteX37" fmla="*/ 236159 w 1881147"/>
                  <a:gd name="connsiteY37" fmla="*/ 789961 h 1691730"/>
                  <a:gd name="connsiteX38" fmla="*/ 271462 w 1881147"/>
                  <a:gd name="connsiteY38" fmla="*/ 845932 h 1691730"/>
                  <a:gd name="connsiteX39" fmla="*/ 270869 w 1881147"/>
                  <a:gd name="connsiteY39" fmla="*/ 891004 h 1691730"/>
                  <a:gd name="connsiteX40" fmla="*/ 295393 w 1881147"/>
                  <a:gd name="connsiteY40" fmla="*/ 930479 h 1691730"/>
                  <a:gd name="connsiteX41" fmla="*/ 341051 w 1881147"/>
                  <a:gd name="connsiteY41" fmla="*/ 969071 h 1691730"/>
                  <a:gd name="connsiteX42" fmla="*/ 426184 w 1881147"/>
                  <a:gd name="connsiteY42" fmla="*/ 1023323 h 1691730"/>
                  <a:gd name="connsiteX43" fmla="*/ 461961 w 1881147"/>
                  <a:gd name="connsiteY43" fmla="*/ 1094416 h 1691730"/>
                  <a:gd name="connsiteX44" fmla="*/ 441064 w 1881147"/>
                  <a:gd name="connsiteY44" fmla="*/ 1163989 h 1691730"/>
                  <a:gd name="connsiteX45" fmla="*/ 519111 w 1881147"/>
                  <a:gd name="connsiteY45" fmla="*/ 1220452 h 1691730"/>
                  <a:gd name="connsiteX46" fmla="*/ 591143 w 1881147"/>
                  <a:gd name="connsiteY46" fmla="*/ 1253446 h 1691730"/>
                  <a:gd name="connsiteX47" fmla="*/ 571974 w 1881147"/>
                  <a:gd name="connsiteY47" fmla="*/ 1313149 h 1691730"/>
                  <a:gd name="connsiteX48" fmla="*/ 662461 w 1881147"/>
                  <a:gd name="connsiteY48" fmla="*/ 1465549 h 1691730"/>
                  <a:gd name="connsiteX49" fmla="*/ 755271 w 1881147"/>
                  <a:gd name="connsiteY49" fmla="*/ 1538703 h 1691730"/>
                  <a:gd name="connsiteX50" fmla="*/ 805336 w 1881147"/>
                  <a:gd name="connsiteY50" fmla="*/ 1489361 h 1691730"/>
                  <a:gd name="connsiteX51" fmla="*/ 869926 w 1881147"/>
                  <a:gd name="connsiteY51" fmla="*/ 1516758 h 1691730"/>
                  <a:gd name="connsiteX52" fmla="*/ 924399 w 1881147"/>
                  <a:gd name="connsiteY52" fmla="*/ 1484599 h 1691730"/>
                  <a:gd name="connsiteX53" fmla="*/ 941246 w 1881147"/>
                  <a:gd name="connsiteY53" fmla="*/ 1442423 h 1691730"/>
                  <a:gd name="connsiteX54" fmla="*/ 1005123 w 1881147"/>
                  <a:gd name="connsiteY54" fmla="*/ 1528835 h 1691730"/>
                  <a:gd name="connsiteX55" fmla="*/ 1050190 w 1881147"/>
                  <a:gd name="connsiteY55" fmla="*/ 1599929 h 1691730"/>
                  <a:gd name="connsiteX56" fmla="*/ 1120136 w 1881147"/>
                  <a:gd name="connsiteY56" fmla="*/ 1691448 h 1691730"/>
                  <a:gd name="connsiteX57" fmla="*/ 1151034 w 1881147"/>
                  <a:gd name="connsiteY57" fmla="*/ 1628357 h 1691730"/>
                  <a:gd name="connsiteX58" fmla="*/ 1181693 w 1881147"/>
                  <a:gd name="connsiteY58" fmla="*/ 1621877 h 1691730"/>
                  <a:gd name="connsiteX59" fmla="*/ 1224792 w 1881147"/>
                  <a:gd name="connsiteY59" fmla="*/ 1651140 h 1691730"/>
                  <a:gd name="connsiteX60" fmla="*/ 1258367 w 1881147"/>
                  <a:gd name="connsiteY60" fmla="*/ 1610486 h 1691730"/>
                  <a:gd name="connsiteX61" fmla="*/ 1277188 w 1881147"/>
                  <a:gd name="connsiteY61" fmla="*/ 1615103 h 1691730"/>
                  <a:gd name="connsiteX62" fmla="*/ 1311230 w 1881147"/>
                  <a:gd name="connsiteY62" fmla="*/ 1681580 h 1691730"/>
                  <a:gd name="connsiteX63" fmla="*/ 1367786 w 1881147"/>
                  <a:gd name="connsiteY63" fmla="*/ 1658111 h 1691730"/>
                  <a:gd name="connsiteX64" fmla="*/ 1419818 w 1881147"/>
                  <a:gd name="connsiteY64" fmla="*/ 1601990 h 1691730"/>
                  <a:gd name="connsiteX65" fmla="*/ 1470595 w 1881147"/>
                  <a:gd name="connsiteY65" fmla="*/ 1585447 h 1691730"/>
                  <a:gd name="connsiteX66" fmla="*/ 1488274 w 1881147"/>
                  <a:gd name="connsiteY66" fmla="*/ 1641269 h 1691730"/>
                  <a:gd name="connsiteX67" fmla="*/ 1558169 w 1881147"/>
                  <a:gd name="connsiteY67" fmla="*/ 1615591 h 1691730"/>
                  <a:gd name="connsiteX68" fmla="*/ 1588947 w 1881147"/>
                  <a:gd name="connsiteY68" fmla="*/ 1528835 h 1691730"/>
                  <a:gd name="connsiteX69" fmla="*/ 1670383 w 1881147"/>
                  <a:gd name="connsiteY69" fmla="*/ 1438693 h 1691730"/>
                  <a:gd name="connsiteX70" fmla="*/ 1714974 w 1881147"/>
                  <a:gd name="connsiteY70" fmla="*/ 1407563 h 1691730"/>
                  <a:gd name="connsiteX71" fmla="*/ 1743343 w 1881147"/>
                  <a:gd name="connsiteY71" fmla="*/ 1410858 h 1691730"/>
                  <a:gd name="connsiteX72" fmla="*/ 1820935 w 1881147"/>
                  <a:gd name="connsiteY72" fmla="*/ 1400250 h 1691730"/>
                  <a:gd name="connsiteX73" fmla="*/ 1816054 w 1881147"/>
                  <a:gd name="connsiteY73" fmla="*/ 1453814 h 1691730"/>
                  <a:gd name="connsiteX74" fmla="*/ 1874221 w 1881147"/>
                  <a:gd name="connsiteY74" fmla="*/ 1477135 h 1691730"/>
                  <a:gd name="connsiteX75" fmla="*/ 1875829 w 1881147"/>
                  <a:gd name="connsiteY75" fmla="*/ 1454501 h 1691730"/>
                  <a:gd name="connsiteX76" fmla="*/ 1875051 w 1881147"/>
                  <a:gd name="connsiteY76" fmla="*/ 1393767 h 1691730"/>
                  <a:gd name="connsiteX77" fmla="*/ 1853086 w 1881147"/>
                  <a:gd name="connsiteY77" fmla="*/ 1303624 h 1691730"/>
                  <a:gd name="connsiteX78" fmla="*/ 1853086 w 1881147"/>
                  <a:gd name="connsiteY78" fmla="*/ 1246474 h 1691730"/>
                  <a:gd name="connsiteX79" fmla="*/ 1810224 w 1881147"/>
                  <a:gd name="connsiteY79" fmla="*/ 1236949 h 1691730"/>
                  <a:gd name="connsiteX80" fmla="*/ 1734024 w 1881147"/>
                  <a:gd name="connsiteY80" fmla="*/ 1155986 h 1691730"/>
                  <a:gd name="connsiteX81" fmla="*/ 1695924 w 1881147"/>
                  <a:gd name="connsiteY81" fmla="*/ 975011 h 1691730"/>
                  <a:gd name="connsiteX82" fmla="*/ 1643536 w 1881147"/>
                  <a:gd name="connsiteY82" fmla="*/ 941674 h 1691730"/>
                  <a:gd name="connsiteX83" fmla="*/ 1605436 w 1881147"/>
                  <a:gd name="connsiteY83" fmla="*/ 884524 h 1691730"/>
                  <a:gd name="connsiteX84" fmla="*/ 1557811 w 1881147"/>
                  <a:gd name="connsiteY84" fmla="*/ 836899 h 1691730"/>
                  <a:gd name="connsiteX85" fmla="*/ 1505424 w 1881147"/>
                  <a:gd name="connsiteY85" fmla="*/ 817849 h 1691730"/>
                  <a:gd name="connsiteX86" fmla="*/ 1453036 w 1881147"/>
                  <a:gd name="connsiteY86" fmla="*/ 813086 h 1691730"/>
                  <a:gd name="connsiteX87" fmla="*/ 1510186 w 1881147"/>
                  <a:gd name="connsiteY87" fmla="*/ 779749 h 1691730"/>
                  <a:gd name="connsiteX88" fmla="*/ 1476849 w 1881147"/>
                  <a:gd name="connsiteY88" fmla="*/ 746411 h 1691730"/>
                  <a:gd name="connsiteX89" fmla="*/ 1481611 w 1881147"/>
                  <a:gd name="connsiteY89" fmla="*/ 722599 h 1691730"/>
                  <a:gd name="connsiteX90" fmla="*/ 1572099 w 1881147"/>
                  <a:gd name="connsiteY90" fmla="*/ 760699 h 1691730"/>
                  <a:gd name="connsiteX91" fmla="*/ 1624486 w 1881147"/>
                  <a:gd name="connsiteY91" fmla="*/ 694024 h 1691730"/>
                  <a:gd name="connsiteX92" fmla="*/ 1622283 w 1881147"/>
                  <a:gd name="connsiteY92" fmla="*/ 551149 h 1691730"/>
                  <a:gd name="connsiteX93" fmla="*/ 1639486 w 1881147"/>
                  <a:gd name="connsiteY93" fmla="*/ 402823 h 1691730"/>
                  <a:gd name="connsiteX0" fmla="*/ 1639486 w 1881147"/>
                  <a:gd name="connsiteY0" fmla="*/ 405145 h 1694052"/>
                  <a:gd name="connsiteX1" fmla="*/ 1567336 w 1881147"/>
                  <a:gd name="connsiteY1" fmla="*/ 372496 h 1694052"/>
                  <a:gd name="connsiteX2" fmla="*/ 1477087 w 1881147"/>
                  <a:gd name="connsiteY2" fmla="*/ 348683 h 1694052"/>
                  <a:gd name="connsiteX3" fmla="*/ 1423767 w 1881147"/>
                  <a:gd name="connsiteY3" fmla="*/ 271599 h 1694052"/>
                  <a:gd name="connsiteX4" fmla="*/ 1395785 w 1881147"/>
                  <a:gd name="connsiteY4" fmla="*/ 169754 h 1694052"/>
                  <a:gd name="connsiteX5" fmla="*/ 1351753 w 1881147"/>
                  <a:gd name="connsiteY5" fmla="*/ 15308 h 1694052"/>
                  <a:gd name="connsiteX6" fmla="*/ 1267299 w 1881147"/>
                  <a:gd name="connsiteY6" fmla="*/ 15308 h 1694052"/>
                  <a:gd name="connsiteX7" fmla="*/ 1247452 w 1881147"/>
                  <a:gd name="connsiteY7" fmla="*/ 101065 h 1694052"/>
                  <a:gd name="connsiteX8" fmla="*/ 1214911 w 1881147"/>
                  <a:gd name="connsiteY8" fmla="*/ 158183 h 1694052"/>
                  <a:gd name="connsiteX9" fmla="*/ 1186336 w 1881147"/>
                  <a:gd name="connsiteY9" fmla="*/ 186758 h 1694052"/>
                  <a:gd name="connsiteX10" fmla="*/ 1176811 w 1881147"/>
                  <a:gd name="connsiteY10" fmla="*/ 258196 h 1694052"/>
                  <a:gd name="connsiteX11" fmla="*/ 1114899 w 1881147"/>
                  <a:gd name="connsiteY11" fmla="*/ 301058 h 1694052"/>
                  <a:gd name="connsiteX12" fmla="*/ 1005361 w 1881147"/>
                  <a:gd name="connsiteY12" fmla="*/ 315346 h 1694052"/>
                  <a:gd name="connsiteX13" fmla="*/ 962499 w 1881147"/>
                  <a:gd name="connsiteY13" fmla="*/ 358208 h 1694052"/>
                  <a:gd name="connsiteX14" fmla="*/ 838674 w 1881147"/>
                  <a:gd name="connsiteY14" fmla="*/ 358208 h 1694052"/>
                  <a:gd name="connsiteX15" fmla="*/ 781524 w 1881147"/>
                  <a:gd name="connsiteY15" fmla="*/ 429646 h 1694052"/>
                  <a:gd name="connsiteX16" fmla="*/ 781524 w 1881147"/>
                  <a:gd name="connsiteY16" fmla="*/ 462983 h 1694052"/>
                  <a:gd name="connsiteX17" fmla="*/ 743424 w 1881147"/>
                  <a:gd name="connsiteY17" fmla="*/ 486796 h 1694052"/>
                  <a:gd name="connsiteX18" fmla="*/ 671986 w 1881147"/>
                  <a:gd name="connsiteY18" fmla="*/ 420121 h 1694052"/>
                  <a:gd name="connsiteX19" fmla="*/ 519586 w 1881147"/>
                  <a:gd name="connsiteY19" fmla="*/ 415358 h 1694052"/>
                  <a:gd name="connsiteX20" fmla="*/ 457674 w 1881147"/>
                  <a:gd name="connsiteY20" fmla="*/ 434408 h 1694052"/>
                  <a:gd name="connsiteX21" fmla="*/ 419574 w 1881147"/>
                  <a:gd name="connsiteY21" fmla="*/ 420121 h 1694052"/>
                  <a:gd name="connsiteX22" fmla="*/ 400524 w 1881147"/>
                  <a:gd name="connsiteY22" fmla="*/ 358208 h 1694052"/>
                  <a:gd name="connsiteX23" fmla="*/ 333849 w 1881147"/>
                  <a:gd name="connsiteY23" fmla="*/ 305821 h 1694052"/>
                  <a:gd name="connsiteX24" fmla="*/ 286224 w 1881147"/>
                  <a:gd name="connsiteY24" fmla="*/ 239146 h 1694052"/>
                  <a:gd name="connsiteX25" fmla="*/ 143349 w 1881147"/>
                  <a:gd name="connsiteY25" fmla="*/ 258196 h 1694052"/>
                  <a:gd name="connsiteX26" fmla="*/ 124299 w 1881147"/>
                  <a:gd name="connsiteY26" fmla="*/ 334396 h 1694052"/>
                  <a:gd name="connsiteX27" fmla="*/ 110011 w 1881147"/>
                  <a:gd name="connsiteY27" fmla="*/ 367733 h 1694052"/>
                  <a:gd name="connsiteX28" fmla="*/ 133824 w 1881147"/>
                  <a:gd name="connsiteY28" fmla="*/ 415358 h 1694052"/>
                  <a:gd name="connsiteX29" fmla="*/ 81436 w 1881147"/>
                  <a:gd name="connsiteY29" fmla="*/ 453458 h 1694052"/>
                  <a:gd name="connsiteX30" fmla="*/ 33811 w 1881147"/>
                  <a:gd name="connsiteY30" fmla="*/ 448696 h 1694052"/>
                  <a:gd name="connsiteX31" fmla="*/ 33811 w 1881147"/>
                  <a:gd name="connsiteY31" fmla="*/ 520133 h 1694052"/>
                  <a:gd name="connsiteX32" fmla="*/ 474 w 1881147"/>
                  <a:gd name="connsiteY32" fmla="*/ 624908 h 1694052"/>
                  <a:gd name="connsiteX33" fmla="*/ 62386 w 1881147"/>
                  <a:gd name="connsiteY33" fmla="*/ 701108 h 1694052"/>
                  <a:gd name="connsiteX34" fmla="*/ 111977 w 1881147"/>
                  <a:gd name="connsiteY34" fmla="*/ 681370 h 1694052"/>
                  <a:gd name="connsiteX35" fmla="*/ 112334 w 1881147"/>
                  <a:gd name="connsiteY35" fmla="*/ 751629 h 1694052"/>
                  <a:gd name="connsiteX36" fmla="*/ 167161 w 1881147"/>
                  <a:gd name="connsiteY36" fmla="*/ 782071 h 1694052"/>
                  <a:gd name="connsiteX37" fmla="*/ 236159 w 1881147"/>
                  <a:gd name="connsiteY37" fmla="*/ 792283 h 1694052"/>
                  <a:gd name="connsiteX38" fmla="*/ 271462 w 1881147"/>
                  <a:gd name="connsiteY38" fmla="*/ 848254 h 1694052"/>
                  <a:gd name="connsiteX39" fmla="*/ 270869 w 1881147"/>
                  <a:gd name="connsiteY39" fmla="*/ 893326 h 1694052"/>
                  <a:gd name="connsiteX40" fmla="*/ 295393 w 1881147"/>
                  <a:gd name="connsiteY40" fmla="*/ 932801 h 1694052"/>
                  <a:gd name="connsiteX41" fmla="*/ 341051 w 1881147"/>
                  <a:gd name="connsiteY41" fmla="*/ 971393 h 1694052"/>
                  <a:gd name="connsiteX42" fmla="*/ 426184 w 1881147"/>
                  <a:gd name="connsiteY42" fmla="*/ 1025645 h 1694052"/>
                  <a:gd name="connsiteX43" fmla="*/ 461961 w 1881147"/>
                  <a:gd name="connsiteY43" fmla="*/ 1096738 h 1694052"/>
                  <a:gd name="connsiteX44" fmla="*/ 441064 w 1881147"/>
                  <a:gd name="connsiteY44" fmla="*/ 1166311 h 1694052"/>
                  <a:gd name="connsiteX45" fmla="*/ 519111 w 1881147"/>
                  <a:gd name="connsiteY45" fmla="*/ 1222774 h 1694052"/>
                  <a:gd name="connsiteX46" fmla="*/ 591143 w 1881147"/>
                  <a:gd name="connsiteY46" fmla="*/ 1255768 h 1694052"/>
                  <a:gd name="connsiteX47" fmla="*/ 571974 w 1881147"/>
                  <a:gd name="connsiteY47" fmla="*/ 1315471 h 1694052"/>
                  <a:gd name="connsiteX48" fmla="*/ 662461 w 1881147"/>
                  <a:gd name="connsiteY48" fmla="*/ 1467871 h 1694052"/>
                  <a:gd name="connsiteX49" fmla="*/ 755271 w 1881147"/>
                  <a:gd name="connsiteY49" fmla="*/ 1541025 h 1694052"/>
                  <a:gd name="connsiteX50" fmla="*/ 805336 w 1881147"/>
                  <a:gd name="connsiteY50" fmla="*/ 1491683 h 1694052"/>
                  <a:gd name="connsiteX51" fmla="*/ 869926 w 1881147"/>
                  <a:gd name="connsiteY51" fmla="*/ 1519080 h 1694052"/>
                  <a:gd name="connsiteX52" fmla="*/ 924399 w 1881147"/>
                  <a:gd name="connsiteY52" fmla="*/ 1486921 h 1694052"/>
                  <a:gd name="connsiteX53" fmla="*/ 941246 w 1881147"/>
                  <a:gd name="connsiteY53" fmla="*/ 1444745 h 1694052"/>
                  <a:gd name="connsiteX54" fmla="*/ 1005123 w 1881147"/>
                  <a:gd name="connsiteY54" fmla="*/ 1531157 h 1694052"/>
                  <a:gd name="connsiteX55" fmla="*/ 1050190 w 1881147"/>
                  <a:gd name="connsiteY55" fmla="*/ 1602251 h 1694052"/>
                  <a:gd name="connsiteX56" fmla="*/ 1120136 w 1881147"/>
                  <a:gd name="connsiteY56" fmla="*/ 1693770 h 1694052"/>
                  <a:gd name="connsiteX57" fmla="*/ 1151034 w 1881147"/>
                  <a:gd name="connsiteY57" fmla="*/ 1630679 h 1694052"/>
                  <a:gd name="connsiteX58" fmla="*/ 1181693 w 1881147"/>
                  <a:gd name="connsiteY58" fmla="*/ 1624199 h 1694052"/>
                  <a:gd name="connsiteX59" fmla="*/ 1224792 w 1881147"/>
                  <a:gd name="connsiteY59" fmla="*/ 1653462 h 1694052"/>
                  <a:gd name="connsiteX60" fmla="*/ 1258367 w 1881147"/>
                  <a:gd name="connsiteY60" fmla="*/ 1612808 h 1694052"/>
                  <a:gd name="connsiteX61" fmla="*/ 1277188 w 1881147"/>
                  <a:gd name="connsiteY61" fmla="*/ 1617425 h 1694052"/>
                  <a:gd name="connsiteX62" fmla="*/ 1311230 w 1881147"/>
                  <a:gd name="connsiteY62" fmla="*/ 1683902 h 1694052"/>
                  <a:gd name="connsiteX63" fmla="*/ 1367786 w 1881147"/>
                  <a:gd name="connsiteY63" fmla="*/ 1660433 h 1694052"/>
                  <a:gd name="connsiteX64" fmla="*/ 1419818 w 1881147"/>
                  <a:gd name="connsiteY64" fmla="*/ 1604312 h 1694052"/>
                  <a:gd name="connsiteX65" fmla="*/ 1470595 w 1881147"/>
                  <a:gd name="connsiteY65" fmla="*/ 1587769 h 1694052"/>
                  <a:gd name="connsiteX66" fmla="*/ 1488274 w 1881147"/>
                  <a:gd name="connsiteY66" fmla="*/ 1643591 h 1694052"/>
                  <a:gd name="connsiteX67" fmla="*/ 1558169 w 1881147"/>
                  <a:gd name="connsiteY67" fmla="*/ 1617913 h 1694052"/>
                  <a:gd name="connsiteX68" fmla="*/ 1588947 w 1881147"/>
                  <a:gd name="connsiteY68" fmla="*/ 1531157 h 1694052"/>
                  <a:gd name="connsiteX69" fmla="*/ 1670383 w 1881147"/>
                  <a:gd name="connsiteY69" fmla="*/ 1441015 h 1694052"/>
                  <a:gd name="connsiteX70" fmla="*/ 1714974 w 1881147"/>
                  <a:gd name="connsiteY70" fmla="*/ 1409885 h 1694052"/>
                  <a:gd name="connsiteX71" fmla="*/ 1743343 w 1881147"/>
                  <a:gd name="connsiteY71" fmla="*/ 1413180 h 1694052"/>
                  <a:gd name="connsiteX72" fmla="*/ 1820935 w 1881147"/>
                  <a:gd name="connsiteY72" fmla="*/ 1402572 h 1694052"/>
                  <a:gd name="connsiteX73" fmla="*/ 1816054 w 1881147"/>
                  <a:gd name="connsiteY73" fmla="*/ 1456136 h 1694052"/>
                  <a:gd name="connsiteX74" fmla="*/ 1874221 w 1881147"/>
                  <a:gd name="connsiteY74" fmla="*/ 1479457 h 1694052"/>
                  <a:gd name="connsiteX75" fmla="*/ 1875829 w 1881147"/>
                  <a:gd name="connsiteY75" fmla="*/ 1456823 h 1694052"/>
                  <a:gd name="connsiteX76" fmla="*/ 1875051 w 1881147"/>
                  <a:gd name="connsiteY76" fmla="*/ 1396089 h 1694052"/>
                  <a:gd name="connsiteX77" fmla="*/ 1853086 w 1881147"/>
                  <a:gd name="connsiteY77" fmla="*/ 1305946 h 1694052"/>
                  <a:gd name="connsiteX78" fmla="*/ 1853086 w 1881147"/>
                  <a:gd name="connsiteY78" fmla="*/ 1248796 h 1694052"/>
                  <a:gd name="connsiteX79" fmla="*/ 1810224 w 1881147"/>
                  <a:gd name="connsiteY79" fmla="*/ 1239271 h 1694052"/>
                  <a:gd name="connsiteX80" fmla="*/ 1734024 w 1881147"/>
                  <a:gd name="connsiteY80" fmla="*/ 1158308 h 1694052"/>
                  <a:gd name="connsiteX81" fmla="*/ 1695924 w 1881147"/>
                  <a:gd name="connsiteY81" fmla="*/ 977333 h 1694052"/>
                  <a:gd name="connsiteX82" fmla="*/ 1643536 w 1881147"/>
                  <a:gd name="connsiteY82" fmla="*/ 943996 h 1694052"/>
                  <a:gd name="connsiteX83" fmla="*/ 1605436 w 1881147"/>
                  <a:gd name="connsiteY83" fmla="*/ 886846 h 1694052"/>
                  <a:gd name="connsiteX84" fmla="*/ 1557811 w 1881147"/>
                  <a:gd name="connsiteY84" fmla="*/ 839221 h 1694052"/>
                  <a:gd name="connsiteX85" fmla="*/ 1505424 w 1881147"/>
                  <a:gd name="connsiteY85" fmla="*/ 820171 h 1694052"/>
                  <a:gd name="connsiteX86" fmla="*/ 1453036 w 1881147"/>
                  <a:gd name="connsiteY86" fmla="*/ 815408 h 1694052"/>
                  <a:gd name="connsiteX87" fmla="*/ 1510186 w 1881147"/>
                  <a:gd name="connsiteY87" fmla="*/ 782071 h 1694052"/>
                  <a:gd name="connsiteX88" fmla="*/ 1476849 w 1881147"/>
                  <a:gd name="connsiteY88" fmla="*/ 748733 h 1694052"/>
                  <a:gd name="connsiteX89" fmla="*/ 1481611 w 1881147"/>
                  <a:gd name="connsiteY89" fmla="*/ 724921 h 1694052"/>
                  <a:gd name="connsiteX90" fmla="*/ 1572099 w 1881147"/>
                  <a:gd name="connsiteY90" fmla="*/ 763021 h 1694052"/>
                  <a:gd name="connsiteX91" fmla="*/ 1624486 w 1881147"/>
                  <a:gd name="connsiteY91" fmla="*/ 696346 h 1694052"/>
                  <a:gd name="connsiteX92" fmla="*/ 1622283 w 1881147"/>
                  <a:gd name="connsiteY92" fmla="*/ 553471 h 1694052"/>
                  <a:gd name="connsiteX93" fmla="*/ 1639486 w 1881147"/>
                  <a:gd name="connsiteY93" fmla="*/ 405145 h 1694052"/>
                  <a:gd name="connsiteX0" fmla="*/ 1639486 w 1881147"/>
                  <a:gd name="connsiteY0" fmla="*/ 415049 h 1703956"/>
                  <a:gd name="connsiteX1" fmla="*/ 1567336 w 1881147"/>
                  <a:gd name="connsiteY1" fmla="*/ 382400 h 1703956"/>
                  <a:gd name="connsiteX2" fmla="*/ 1477087 w 1881147"/>
                  <a:gd name="connsiteY2" fmla="*/ 358587 h 1703956"/>
                  <a:gd name="connsiteX3" fmla="*/ 1423767 w 1881147"/>
                  <a:gd name="connsiteY3" fmla="*/ 281503 h 1703956"/>
                  <a:gd name="connsiteX4" fmla="*/ 1395785 w 1881147"/>
                  <a:gd name="connsiteY4" fmla="*/ 179658 h 1703956"/>
                  <a:gd name="connsiteX5" fmla="*/ 1364769 w 1881147"/>
                  <a:gd name="connsiteY5" fmla="*/ 11596 h 1703956"/>
                  <a:gd name="connsiteX6" fmla="*/ 1267299 w 1881147"/>
                  <a:gd name="connsiteY6" fmla="*/ 25212 h 1703956"/>
                  <a:gd name="connsiteX7" fmla="*/ 1247452 w 1881147"/>
                  <a:gd name="connsiteY7" fmla="*/ 110969 h 1703956"/>
                  <a:gd name="connsiteX8" fmla="*/ 1214911 w 1881147"/>
                  <a:gd name="connsiteY8" fmla="*/ 168087 h 1703956"/>
                  <a:gd name="connsiteX9" fmla="*/ 1186336 w 1881147"/>
                  <a:gd name="connsiteY9" fmla="*/ 196662 h 1703956"/>
                  <a:gd name="connsiteX10" fmla="*/ 1176811 w 1881147"/>
                  <a:gd name="connsiteY10" fmla="*/ 268100 h 1703956"/>
                  <a:gd name="connsiteX11" fmla="*/ 1114899 w 1881147"/>
                  <a:gd name="connsiteY11" fmla="*/ 310962 h 1703956"/>
                  <a:gd name="connsiteX12" fmla="*/ 1005361 w 1881147"/>
                  <a:gd name="connsiteY12" fmla="*/ 325250 h 1703956"/>
                  <a:gd name="connsiteX13" fmla="*/ 962499 w 1881147"/>
                  <a:gd name="connsiteY13" fmla="*/ 368112 h 1703956"/>
                  <a:gd name="connsiteX14" fmla="*/ 838674 w 1881147"/>
                  <a:gd name="connsiteY14" fmla="*/ 368112 h 1703956"/>
                  <a:gd name="connsiteX15" fmla="*/ 781524 w 1881147"/>
                  <a:gd name="connsiteY15" fmla="*/ 439550 h 1703956"/>
                  <a:gd name="connsiteX16" fmla="*/ 781524 w 1881147"/>
                  <a:gd name="connsiteY16" fmla="*/ 472887 h 1703956"/>
                  <a:gd name="connsiteX17" fmla="*/ 743424 w 1881147"/>
                  <a:gd name="connsiteY17" fmla="*/ 496700 h 1703956"/>
                  <a:gd name="connsiteX18" fmla="*/ 671986 w 1881147"/>
                  <a:gd name="connsiteY18" fmla="*/ 430025 h 1703956"/>
                  <a:gd name="connsiteX19" fmla="*/ 519586 w 1881147"/>
                  <a:gd name="connsiteY19" fmla="*/ 425262 h 1703956"/>
                  <a:gd name="connsiteX20" fmla="*/ 457674 w 1881147"/>
                  <a:gd name="connsiteY20" fmla="*/ 444312 h 1703956"/>
                  <a:gd name="connsiteX21" fmla="*/ 419574 w 1881147"/>
                  <a:gd name="connsiteY21" fmla="*/ 430025 h 1703956"/>
                  <a:gd name="connsiteX22" fmla="*/ 400524 w 1881147"/>
                  <a:gd name="connsiteY22" fmla="*/ 368112 h 1703956"/>
                  <a:gd name="connsiteX23" fmla="*/ 333849 w 1881147"/>
                  <a:gd name="connsiteY23" fmla="*/ 315725 h 1703956"/>
                  <a:gd name="connsiteX24" fmla="*/ 286224 w 1881147"/>
                  <a:gd name="connsiteY24" fmla="*/ 249050 h 1703956"/>
                  <a:gd name="connsiteX25" fmla="*/ 143349 w 1881147"/>
                  <a:gd name="connsiteY25" fmla="*/ 268100 h 1703956"/>
                  <a:gd name="connsiteX26" fmla="*/ 124299 w 1881147"/>
                  <a:gd name="connsiteY26" fmla="*/ 344300 h 1703956"/>
                  <a:gd name="connsiteX27" fmla="*/ 110011 w 1881147"/>
                  <a:gd name="connsiteY27" fmla="*/ 377637 h 1703956"/>
                  <a:gd name="connsiteX28" fmla="*/ 133824 w 1881147"/>
                  <a:gd name="connsiteY28" fmla="*/ 425262 h 1703956"/>
                  <a:gd name="connsiteX29" fmla="*/ 81436 w 1881147"/>
                  <a:gd name="connsiteY29" fmla="*/ 463362 h 1703956"/>
                  <a:gd name="connsiteX30" fmla="*/ 33811 w 1881147"/>
                  <a:gd name="connsiteY30" fmla="*/ 458600 h 1703956"/>
                  <a:gd name="connsiteX31" fmla="*/ 33811 w 1881147"/>
                  <a:gd name="connsiteY31" fmla="*/ 530037 h 1703956"/>
                  <a:gd name="connsiteX32" fmla="*/ 474 w 1881147"/>
                  <a:gd name="connsiteY32" fmla="*/ 634812 h 1703956"/>
                  <a:gd name="connsiteX33" fmla="*/ 62386 w 1881147"/>
                  <a:gd name="connsiteY33" fmla="*/ 711012 h 1703956"/>
                  <a:gd name="connsiteX34" fmla="*/ 111977 w 1881147"/>
                  <a:gd name="connsiteY34" fmla="*/ 691274 h 1703956"/>
                  <a:gd name="connsiteX35" fmla="*/ 112334 w 1881147"/>
                  <a:gd name="connsiteY35" fmla="*/ 761533 h 1703956"/>
                  <a:gd name="connsiteX36" fmla="*/ 167161 w 1881147"/>
                  <a:gd name="connsiteY36" fmla="*/ 791975 h 1703956"/>
                  <a:gd name="connsiteX37" fmla="*/ 236159 w 1881147"/>
                  <a:gd name="connsiteY37" fmla="*/ 802187 h 1703956"/>
                  <a:gd name="connsiteX38" fmla="*/ 271462 w 1881147"/>
                  <a:gd name="connsiteY38" fmla="*/ 858158 h 1703956"/>
                  <a:gd name="connsiteX39" fmla="*/ 270869 w 1881147"/>
                  <a:gd name="connsiteY39" fmla="*/ 903230 h 1703956"/>
                  <a:gd name="connsiteX40" fmla="*/ 295393 w 1881147"/>
                  <a:gd name="connsiteY40" fmla="*/ 942705 h 1703956"/>
                  <a:gd name="connsiteX41" fmla="*/ 341051 w 1881147"/>
                  <a:gd name="connsiteY41" fmla="*/ 981297 h 1703956"/>
                  <a:gd name="connsiteX42" fmla="*/ 426184 w 1881147"/>
                  <a:gd name="connsiteY42" fmla="*/ 1035549 h 1703956"/>
                  <a:gd name="connsiteX43" fmla="*/ 461961 w 1881147"/>
                  <a:gd name="connsiteY43" fmla="*/ 1106642 h 1703956"/>
                  <a:gd name="connsiteX44" fmla="*/ 441064 w 1881147"/>
                  <a:gd name="connsiteY44" fmla="*/ 1176215 h 1703956"/>
                  <a:gd name="connsiteX45" fmla="*/ 519111 w 1881147"/>
                  <a:gd name="connsiteY45" fmla="*/ 1232678 h 1703956"/>
                  <a:gd name="connsiteX46" fmla="*/ 591143 w 1881147"/>
                  <a:gd name="connsiteY46" fmla="*/ 1265672 h 1703956"/>
                  <a:gd name="connsiteX47" fmla="*/ 571974 w 1881147"/>
                  <a:gd name="connsiteY47" fmla="*/ 1325375 h 1703956"/>
                  <a:gd name="connsiteX48" fmla="*/ 662461 w 1881147"/>
                  <a:gd name="connsiteY48" fmla="*/ 1477775 h 1703956"/>
                  <a:gd name="connsiteX49" fmla="*/ 755271 w 1881147"/>
                  <a:gd name="connsiteY49" fmla="*/ 1550929 h 1703956"/>
                  <a:gd name="connsiteX50" fmla="*/ 805336 w 1881147"/>
                  <a:gd name="connsiteY50" fmla="*/ 1501587 h 1703956"/>
                  <a:gd name="connsiteX51" fmla="*/ 869926 w 1881147"/>
                  <a:gd name="connsiteY51" fmla="*/ 1528984 h 1703956"/>
                  <a:gd name="connsiteX52" fmla="*/ 924399 w 1881147"/>
                  <a:gd name="connsiteY52" fmla="*/ 1496825 h 1703956"/>
                  <a:gd name="connsiteX53" fmla="*/ 941246 w 1881147"/>
                  <a:gd name="connsiteY53" fmla="*/ 1454649 h 1703956"/>
                  <a:gd name="connsiteX54" fmla="*/ 1005123 w 1881147"/>
                  <a:gd name="connsiteY54" fmla="*/ 1541061 h 1703956"/>
                  <a:gd name="connsiteX55" fmla="*/ 1050190 w 1881147"/>
                  <a:gd name="connsiteY55" fmla="*/ 1612155 h 1703956"/>
                  <a:gd name="connsiteX56" fmla="*/ 1120136 w 1881147"/>
                  <a:gd name="connsiteY56" fmla="*/ 1703674 h 1703956"/>
                  <a:gd name="connsiteX57" fmla="*/ 1151034 w 1881147"/>
                  <a:gd name="connsiteY57" fmla="*/ 1640583 h 1703956"/>
                  <a:gd name="connsiteX58" fmla="*/ 1181693 w 1881147"/>
                  <a:gd name="connsiteY58" fmla="*/ 1634103 h 1703956"/>
                  <a:gd name="connsiteX59" fmla="*/ 1224792 w 1881147"/>
                  <a:gd name="connsiteY59" fmla="*/ 1663366 h 1703956"/>
                  <a:gd name="connsiteX60" fmla="*/ 1258367 w 1881147"/>
                  <a:gd name="connsiteY60" fmla="*/ 1622712 h 1703956"/>
                  <a:gd name="connsiteX61" fmla="*/ 1277188 w 1881147"/>
                  <a:gd name="connsiteY61" fmla="*/ 1627329 h 1703956"/>
                  <a:gd name="connsiteX62" fmla="*/ 1311230 w 1881147"/>
                  <a:gd name="connsiteY62" fmla="*/ 1693806 h 1703956"/>
                  <a:gd name="connsiteX63" fmla="*/ 1367786 w 1881147"/>
                  <a:gd name="connsiteY63" fmla="*/ 1670337 h 1703956"/>
                  <a:gd name="connsiteX64" fmla="*/ 1419818 w 1881147"/>
                  <a:gd name="connsiteY64" fmla="*/ 1614216 h 1703956"/>
                  <a:gd name="connsiteX65" fmla="*/ 1470595 w 1881147"/>
                  <a:gd name="connsiteY65" fmla="*/ 1597673 h 1703956"/>
                  <a:gd name="connsiteX66" fmla="*/ 1488274 w 1881147"/>
                  <a:gd name="connsiteY66" fmla="*/ 1653495 h 1703956"/>
                  <a:gd name="connsiteX67" fmla="*/ 1558169 w 1881147"/>
                  <a:gd name="connsiteY67" fmla="*/ 1627817 h 1703956"/>
                  <a:gd name="connsiteX68" fmla="*/ 1588947 w 1881147"/>
                  <a:gd name="connsiteY68" fmla="*/ 1541061 h 1703956"/>
                  <a:gd name="connsiteX69" fmla="*/ 1670383 w 1881147"/>
                  <a:gd name="connsiteY69" fmla="*/ 1450919 h 1703956"/>
                  <a:gd name="connsiteX70" fmla="*/ 1714974 w 1881147"/>
                  <a:gd name="connsiteY70" fmla="*/ 1419789 h 1703956"/>
                  <a:gd name="connsiteX71" fmla="*/ 1743343 w 1881147"/>
                  <a:gd name="connsiteY71" fmla="*/ 1423084 h 1703956"/>
                  <a:gd name="connsiteX72" fmla="*/ 1820935 w 1881147"/>
                  <a:gd name="connsiteY72" fmla="*/ 1412476 h 1703956"/>
                  <a:gd name="connsiteX73" fmla="*/ 1816054 w 1881147"/>
                  <a:gd name="connsiteY73" fmla="*/ 1466040 h 1703956"/>
                  <a:gd name="connsiteX74" fmla="*/ 1874221 w 1881147"/>
                  <a:gd name="connsiteY74" fmla="*/ 1489361 h 1703956"/>
                  <a:gd name="connsiteX75" fmla="*/ 1875829 w 1881147"/>
                  <a:gd name="connsiteY75" fmla="*/ 1466727 h 1703956"/>
                  <a:gd name="connsiteX76" fmla="*/ 1875051 w 1881147"/>
                  <a:gd name="connsiteY76" fmla="*/ 1405993 h 1703956"/>
                  <a:gd name="connsiteX77" fmla="*/ 1853086 w 1881147"/>
                  <a:gd name="connsiteY77" fmla="*/ 1315850 h 1703956"/>
                  <a:gd name="connsiteX78" fmla="*/ 1853086 w 1881147"/>
                  <a:gd name="connsiteY78" fmla="*/ 1258700 h 1703956"/>
                  <a:gd name="connsiteX79" fmla="*/ 1810224 w 1881147"/>
                  <a:gd name="connsiteY79" fmla="*/ 1249175 h 1703956"/>
                  <a:gd name="connsiteX80" fmla="*/ 1734024 w 1881147"/>
                  <a:gd name="connsiteY80" fmla="*/ 1168212 h 1703956"/>
                  <a:gd name="connsiteX81" fmla="*/ 1695924 w 1881147"/>
                  <a:gd name="connsiteY81" fmla="*/ 987237 h 1703956"/>
                  <a:gd name="connsiteX82" fmla="*/ 1643536 w 1881147"/>
                  <a:gd name="connsiteY82" fmla="*/ 953900 h 1703956"/>
                  <a:gd name="connsiteX83" fmla="*/ 1605436 w 1881147"/>
                  <a:gd name="connsiteY83" fmla="*/ 896750 h 1703956"/>
                  <a:gd name="connsiteX84" fmla="*/ 1557811 w 1881147"/>
                  <a:gd name="connsiteY84" fmla="*/ 849125 h 1703956"/>
                  <a:gd name="connsiteX85" fmla="*/ 1505424 w 1881147"/>
                  <a:gd name="connsiteY85" fmla="*/ 830075 h 1703956"/>
                  <a:gd name="connsiteX86" fmla="*/ 1453036 w 1881147"/>
                  <a:gd name="connsiteY86" fmla="*/ 825312 h 1703956"/>
                  <a:gd name="connsiteX87" fmla="*/ 1510186 w 1881147"/>
                  <a:gd name="connsiteY87" fmla="*/ 791975 h 1703956"/>
                  <a:gd name="connsiteX88" fmla="*/ 1476849 w 1881147"/>
                  <a:gd name="connsiteY88" fmla="*/ 758637 h 1703956"/>
                  <a:gd name="connsiteX89" fmla="*/ 1481611 w 1881147"/>
                  <a:gd name="connsiteY89" fmla="*/ 734825 h 1703956"/>
                  <a:gd name="connsiteX90" fmla="*/ 1572099 w 1881147"/>
                  <a:gd name="connsiteY90" fmla="*/ 772925 h 1703956"/>
                  <a:gd name="connsiteX91" fmla="*/ 1624486 w 1881147"/>
                  <a:gd name="connsiteY91" fmla="*/ 706250 h 1703956"/>
                  <a:gd name="connsiteX92" fmla="*/ 1622283 w 1881147"/>
                  <a:gd name="connsiteY92" fmla="*/ 563375 h 1703956"/>
                  <a:gd name="connsiteX93" fmla="*/ 1639486 w 1881147"/>
                  <a:gd name="connsiteY93" fmla="*/ 415049 h 1703956"/>
                  <a:gd name="connsiteX0" fmla="*/ 1639486 w 1881147"/>
                  <a:gd name="connsiteY0" fmla="*/ 410094 h 1699001"/>
                  <a:gd name="connsiteX1" fmla="*/ 1567336 w 1881147"/>
                  <a:gd name="connsiteY1" fmla="*/ 377445 h 1699001"/>
                  <a:gd name="connsiteX2" fmla="*/ 1477087 w 1881147"/>
                  <a:gd name="connsiteY2" fmla="*/ 353632 h 1699001"/>
                  <a:gd name="connsiteX3" fmla="*/ 1423767 w 1881147"/>
                  <a:gd name="connsiteY3" fmla="*/ 276548 h 1699001"/>
                  <a:gd name="connsiteX4" fmla="*/ 1395785 w 1881147"/>
                  <a:gd name="connsiteY4" fmla="*/ 174703 h 1699001"/>
                  <a:gd name="connsiteX5" fmla="*/ 1364769 w 1881147"/>
                  <a:gd name="connsiteY5" fmla="*/ 6641 h 1699001"/>
                  <a:gd name="connsiteX6" fmla="*/ 1270553 w 1881147"/>
                  <a:gd name="connsiteY6" fmla="*/ 40681 h 1699001"/>
                  <a:gd name="connsiteX7" fmla="*/ 1247452 w 1881147"/>
                  <a:gd name="connsiteY7" fmla="*/ 106014 h 1699001"/>
                  <a:gd name="connsiteX8" fmla="*/ 1214911 w 1881147"/>
                  <a:gd name="connsiteY8" fmla="*/ 163132 h 1699001"/>
                  <a:gd name="connsiteX9" fmla="*/ 1186336 w 1881147"/>
                  <a:gd name="connsiteY9" fmla="*/ 191707 h 1699001"/>
                  <a:gd name="connsiteX10" fmla="*/ 1176811 w 1881147"/>
                  <a:gd name="connsiteY10" fmla="*/ 263145 h 1699001"/>
                  <a:gd name="connsiteX11" fmla="*/ 1114899 w 1881147"/>
                  <a:gd name="connsiteY11" fmla="*/ 306007 h 1699001"/>
                  <a:gd name="connsiteX12" fmla="*/ 1005361 w 1881147"/>
                  <a:gd name="connsiteY12" fmla="*/ 320295 h 1699001"/>
                  <a:gd name="connsiteX13" fmla="*/ 962499 w 1881147"/>
                  <a:gd name="connsiteY13" fmla="*/ 363157 h 1699001"/>
                  <a:gd name="connsiteX14" fmla="*/ 838674 w 1881147"/>
                  <a:gd name="connsiteY14" fmla="*/ 363157 h 1699001"/>
                  <a:gd name="connsiteX15" fmla="*/ 781524 w 1881147"/>
                  <a:gd name="connsiteY15" fmla="*/ 434595 h 1699001"/>
                  <a:gd name="connsiteX16" fmla="*/ 781524 w 1881147"/>
                  <a:gd name="connsiteY16" fmla="*/ 467932 h 1699001"/>
                  <a:gd name="connsiteX17" fmla="*/ 743424 w 1881147"/>
                  <a:gd name="connsiteY17" fmla="*/ 491745 h 1699001"/>
                  <a:gd name="connsiteX18" fmla="*/ 671986 w 1881147"/>
                  <a:gd name="connsiteY18" fmla="*/ 425070 h 1699001"/>
                  <a:gd name="connsiteX19" fmla="*/ 519586 w 1881147"/>
                  <a:gd name="connsiteY19" fmla="*/ 420307 h 1699001"/>
                  <a:gd name="connsiteX20" fmla="*/ 457674 w 1881147"/>
                  <a:gd name="connsiteY20" fmla="*/ 439357 h 1699001"/>
                  <a:gd name="connsiteX21" fmla="*/ 419574 w 1881147"/>
                  <a:gd name="connsiteY21" fmla="*/ 425070 h 1699001"/>
                  <a:gd name="connsiteX22" fmla="*/ 400524 w 1881147"/>
                  <a:gd name="connsiteY22" fmla="*/ 363157 h 1699001"/>
                  <a:gd name="connsiteX23" fmla="*/ 333849 w 1881147"/>
                  <a:gd name="connsiteY23" fmla="*/ 310770 h 1699001"/>
                  <a:gd name="connsiteX24" fmla="*/ 286224 w 1881147"/>
                  <a:gd name="connsiteY24" fmla="*/ 244095 h 1699001"/>
                  <a:gd name="connsiteX25" fmla="*/ 143349 w 1881147"/>
                  <a:gd name="connsiteY25" fmla="*/ 263145 h 1699001"/>
                  <a:gd name="connsiteX26" fmla="*/ 124299 w 1881147"/>
                  <a:gd name="connsiteY26" fmla="*/ 339345 h 1699001"/>
                  <a:gd name="connsiteX27" fmla="*/ 110011 w 1881147"/>
                  <a:gd name="connsiteY27" fmla="*/ 372682 h 1699001"/>
                  <a:gd name="connsiteX28" fmla="*/ 133824 w 1881147"/>
                  <a:gd name="connsiteY28" fmla="*/ 420307 h 1699001"/>
                  <a:gd name="connsiteX29" fmla="*/ 81436 w 1881147"/>
                  <a:gd name="connsiteY29" fmla="*/ 458407 h 1699001"/>
                  <a:gd name="connsiteX30" fmla="*/ 33811 w 1881147"/>
                  <a:gd name="connsiteY30" fmla="*/ 453645 h 1699001"/>
                  <a:gd name="connsiteX31" fmla="*/ 33811 w 1881147"/>
                  <a:gd name="connsiteY31" fmla="*/ 525082 h 1699001"/>
                  <a:gd name="connsiteX32" fmla="*/ 474 w 1881147"/>
                  <a:gd name="connsiteY32" fmla="*/ 629857 h 1699001"/>
                  <a:gd name="connsiteX33" fmla="*/ 62386 w 1881147"/>
                  <a:gd name="connsiteY33" fmla="*/ 706057 h 1699001"/>
                  <a:gd name="connsiteX34" fmla="*/ 111977 w 1881147"/>
                  <a:gd name="connsiteY34" fmla="*/ 686319 h 1699001"/>
                  <a:gd name="connsiteX35" fmla="*/ 112334 w 1881147"/>
                  <a:gd name="connsiteY35" fmla="*/ 756578 h 1699001"/>
                  <a:gd name="connsiteX36" fmla="*/ 167161 w 1881147"/>
                  <a:gd name="connsiteY36" fmla="*/ 787020 h 1699001"/>
                  <a:gd name="connsiteX37" fmla="*/ 236159 w 1881147"/>
                  <a:gd name="connsiteY37" fmla="*/ 797232 h 1699001"/>
                  <a:gd name="connsiteX38" fmla="*/ 271462 w 1881147"/>
                  <a:gd name="connsiteY38" fmla="*/ 853203 h 1699001"/>
                  <a:gd name="connsiteX39" fmla="*/ 270869 w 1881147"/>
                  <a:gd name="connsiteY39" fmla="*/ 898275 h 1699001"/>
                  <a:gd name="connsiteX40" fmla="*/ 295393 w 1881147"/>
                  <a:gd name="connsiteY40" fmla="*/ 937750 h 1699001"/>
                  <a:gd name="connsiteX41" fmla="*/ 341051 w 1881147"/>
                  <a:gd name="connsiteY41" fmla="*/ 976342 h 1699001"/>
                  <a:gd name="connsiteX42" fmla="*/ 426184 w 1881147"/>
                  <a:gd name="connsiteY42" fmla="*/ 1030594 h 1699001"/>
                  <a:gd name="connsiteX43" fmla="*/ 461961 w 1881147"/>
                  <a:gd name="connsiteY43" fmla="*/ 1101687 h 1699001"/>
                  <a:gd name="connsiteX44" fmla="*/ 441064 w 1881147"/>
                  <a:gd name="connsiteY44" fmla="*/ 1171260 h 1699001"/>
                  <a:gd name="connsiteX45" fmla="*/ 519111 w 1881147"/>
                  <a:gd name="connsiteY45" fmla="*/ 1227723 h 1699001"/>
                  <a:gd name="connsiteX46" fmla="*/ 591143 w 1881147"/>
                  <a:gd name="connsiteY46" fmla="*/ 1260717 h 1699001"/>
                  <a:gd name="connsiteX47" fmla="*/ 571974 w 1881147"/>
                  <a:gd name="connsiteY47" fmla="*/ 1320420 h 1699001"/>
                  <a:gd name="connsiteX48" fmla="*/ 662461 w 1881147"/>
                  <a:gd name="connsiteY48" fmla="*/ 1472820 h 1699001"/>
                  <a:gd name="connsiteX49" fmla="*/ 755271 w 1881147"/>
                  <a:gd name="connsiteY49" fmla="*/ 1545974 h 1699001"/>
                  <a:gd name="connsiteX50" fmla="*/ 805336 w 1881147"/>
                  <a:gd name="connsiteY50" fmla="*/ 1496632 h 1699001"/>
                  <a:gd name="connsiteX51" fmla="*/ 869926 w 1881147"/>
                  <a:gd name="connsiteY51" fmla="*/ 1524029 h 1699001"/>
                  <a:gd name="connsiteX52" fmla="*/ 924399 w 1881147"/>
                  <a:gd name="connsiteY52" fmla="*/ 1491870 h 1699001"/>
                  <a:gd name="connsiteX53" fmla="*/ 941246 w 1881147"/>
                  <a:gd name="connsiteY53" fmla="*/ 1449694 h 1699001"/>
                  <a:gd name="connsiteX54" fmla="*/ 1005123 w 1881147"/>
                  <a:gd name="connsiteY54" fmla="*/ 1536106 h 1699001"/>
                  <a:gd name="connsiteX55" fmla="*/ 1050190 w 1881147"/>
                  <a:gd name="connsiteY55" fmla="*/ 1607200 h 1699001"/>
                  <a:gd name="connsiteX56" fmla="*/ 1120136 w 1881147"/>
                  <a:gd name="connsiteY56" fmla="*/ 1698719 h 1699001"/>
                  <a:gd name="connsiteX57" fmla="*/ 1151034 w 1881147"/>
                  <a:gd name="connsiteY57" fmla="*/ 1635628 h 1699001"/>
                  <a:gd name="connsiteX58" fmla="*/ 1181693 w 1881147"/>
                  <a:gd name="connsiteY58" fmla="*/ 1629148 h 1699001"/>
                  <a:gd name="connsiteX59" fmla="*/ 1224792 w 1881147"/>
                  <a:gd name="connsiteY59" fmla="*/ 1658411 h 1699001"/>
                  <a:gd name="connsiteX60" fmla="*/ 1258367 w 1881147"/>
                  <a:gd name="connsiteY60" fmla="*/ 1617757 h 1699001"/>
                  <a:gd name="connsiteX61" fmla="*/ 1277188 w 1881147"/>
                  <a:gd name="connsiteY61" fmla="*/ 1622374 h 1699001"/>
                  <a:gd name="connsiteX62" fmla="*/ 1311230 w 1881147"/>
                  <a:gd name="connsiteY62" fmla="*/ 1688851 h 1699001"/>
                  <a:gd name="connsiteX63" fmla="*/ 1367786 w 1881147"/>
                  <a:gd name="connsiteY63" fmla="*/ 1665382 h 1699001"/>
                  <a:gd name="connsiteX64" fmla="*/ 1419818 w 1881147"/>
                  <a:gd name="connsiteY64" fmla="*/ 1609261 h 1699001"/>
                  <a:gd name="connsiteX65" fmla="*/ 1470595 w 1881147"/>
                  <a:gd name="connsiteY65" fmla="*/ 1592718 h 1699001"/>
                  <a:gd name="connsiteX66" fmla="*/ 1488274 w 1881147"/>
                  <a:gd name="connsiteY66" fmla="*/ 1648540 h 1699001"/>
                  <a:gd name="connsiteX67" fmla="*/ 1558169 w 1881147"/>
                  <a:gd name="connsiteY67" fmla="*/ 1622862 h 1699001"/>
                  <a:gd name="connsiteX68" fmla="*/ 1588947 w 1881147"/>
                  <a:gd name="connsiteY68" fmla="*/ 1536106 h 1699001"/>
                  <a:gd name="connsiteX69" fmla="*/ 1670383 w 1881147"/>
                  <a:gd name="connsiteY69" fmla="*/ 1445964 h 1699001"/>
                  <a:gd name="connsiteX70" fmla="*/ 1714974 w 1881147"/>
                  <a:gd name="connsiteY70" fmla="*/ 1414834 h 1699001"/>
                  <a:gd name="connsiteX71" fmla="*/ 1743343 w 1881147"/>
                  <a:gd name="connsiteY71" fmla="*/ 1418129 h 1699001"/>
                  <a:gd name="connsiteX72" fmla="*/ 1820935 w 1881147"/>
                  <a:gd name="connsiteY72" fmla="*/ 1407521 h 1699001"/>
                  <a:gd name="connsiteX73" fmla="*/ 1816054 w 1881147"/>
                  <a:gd name="connsiteY73" fmla="*/ 1461085 h 1699001"/>
                  <a:gd name="connsiteX74" fmla="*/ 1874221 w 1881147"/>
                  <a:gd name="connsiteY74" fmla="*/ 1484406 h 1699001"/>
                  <a:gd name="connsiteX75" fmla="*/ 1875829 w 1881147"/>
                  <a:gd name="connsiteY75" fmla="*/ 1461772 h 1699001"/>
                  <a:gd name="connsiteX76" fmla="*/ 1875051 w 1881147"/>
                  <a:gd name="connsiteY76" fmla="*/ 1401038 h 1699001"/>
                  <a:gd name="connsiteX77" fmla="*/ 1853086 w 1881147"/>
                  <a:gd name="connsiteY77" fmla="*/ 1310895 h 1699001"/>
                  <a:gd name="connsiteX78" fmla="*/ 1853086 w 1881147"/>
                  <a:gd name="connsiteY78" fmla="*/ 1253745 h 1699001"/>
                  <a:gd name="connsiteX79" fmla="*/ 1810224 w 1881147"/>
                  <a:gd name="connsiteY79" fmla="*/ 1244220 h 1699001"/>
                  <a:gd name="connsiteX80" fmla="*/ 1734024 w 1881147"/>
                  <a:gd name="connsiteY80" fmla="*/ 1163257 h 1699001"/>
                  <a:gd name="connsiteX81" fmla="*/ 1695924 w 1881147"/>
                  <a:gd name="connsiteY81" fmla="*/ 982282 h 1699001"/>
                  <a:gd name="connsiteX82" fmla="*/ 1643536 w 1881147"/>
                  <a:gd name="connsiteY82" fmla="*/ 948945 h 1699001"/>
                  <a:gd name="connsiteX83" fmla="*/ 1605436 w 1881147"/>
                  <a:gd name="connsiteY83" fmla="*/ 891795 h 1699001"/>
                  <a:gd name="connsiteX84" fmla="*/ 1557811 w 1881147"/>
                  <a:gd name="connsiteY84" fmla="*/ 844170 h 1699001"/>
                  <a:gd name="connsiteX85" fmla="*/ 1505424 w 1881147"/>
                  <a:gd name="connsiteY85" fmla="*/ 825120 h 1699001"/>
                  <a:gd name="connsiteX86" fmla="*/ 1453036 w 1881147"/>
                  <a:gd name="connsiteY86" fmla="*/ 820357 h 1699001"/>
                  <a:gd name="connsiteX87" fmla="*/ 1510186 w 1881147"/>
                  <a:gd name="connsiteY87" fmla="*/ 787020 h 1699001"/>
                  <a:gd name="connsiteX88" fmla="*/ 1476849 w 1881147"/>
                  <a:gd name="connsiteY88" fmla="*/ 753682 h 1699001"/>
                  <a:gd name="connsiteX89" fmla="*/ 1481611 w 1881147"/>
                  <a:gd name="connsiteY89" fmla="*/ 729870 h 1699001"/>
                  <a:gd name="connsiteX90" fmla="*/ 1572099 w 1881147"/>
                  <a:gd name="connsiteY90" fmla="*/ 767970 h 1699001"/>
                  <a:gd name="connsiteX91" fmla="*/ 1624486 w 1881147"/>
                  <a:gd name="connsiteY91" fmla="*/ 701295 h 1699001"/>
                  <a:gd name="connsiteX92" fmla="*/ 1622283 w 1881147"/>
                  <a:gd name="connsiteY92" fmla="*/ 558420 h 1699001"/>
                  <a:gd name="connsiteX93" fmla="*/ 1639486 w 1881147"/>
                  <a:gd name="connsiteY93" fmla="*/ 410094 h 1699001"/>
                  <a:gd name="connsiteX0" fmla="*/ 1639486 w 1881147"/>
                  <a:gd name="connsiteY0" fmla="*/ 410466 h 1699373"/>
                  <a:gd name="connsiteX1" fmla="*/ 1567336 w 1881147"/>
                  <a:gd name="connsiteY1" fmla="*/ 377817 h 1699373"/>
                  <a:gd name="connsiteX2" fmla="*/ 1477087 w 1881147"/>
                  <a:gd name="connsiteY2" fmla="*/ 354004 h 1699373"/>
                  <a:gd name="connsiteX3" fmla="*/ 1423767 w 1881147"/>
                  <a:gd name="connsiteY3" fmla="*/ 276920 h 1699373"/>
                  <a:gd name="connsiteX4" fmla="*/ 1395785 w 1881147"/>
                  <a:gd name="connsiteY4" fmla="*/ 175075 h 1699373"/>
                  <a:gd name="connsiteX5" fmla="*/ 1364769 w 1881147"/>
                  <a:gd name="connsiteY5" fmla="*/ 7013 h 1699373"/>
                  <a:gd name="connsiteX6" fmla="*/ 1270553 w 1881147"/>
                  <a:gd name="connsiteY6" fmla="*/ 41053 h 1699373"/>
                  <a:gd name="connsiteX7" fmla="*/ 1244198 w 1881147"/>
                  <a:gd name="connsiteY7" fmla="*/ 126810 h 1699373"/>
                  <a:gd name="connsiteX8" fmla="*/ 1214911 w 1881147"/>
                  <a:gd name="connsiteY8" fmla="*/ 163504 h 1699373"/>
                  <a:gd name="connsiteX9" fmla="*/ 1186336 w 1881147"/>
                  <a:gd name="connsiteY9" fmla="*/ 192079 h 1699373"/>
                  <a:gd name="connsiteX10" fmla="*/ 1176811 w 1881147"/>
                  <a:gd name="connsiteY10" fmla="*/ 263517 h 1699373"/>
                  <a:gd name="connsiteX11" fmla="*/ 1114899 w 1881147"/>
                  <a:gd name="connsiteY11" fmla="*/ 306379 h 1699373"/>
                  <a:gd name="connsiteX12" fmla="*/ 1005361 w 1881147"/>
                  <a:gd name="connsiteY12" fmla="*/ 320667 h 1699373"/>
                  <a:gd name="connsiteX13" fmla="*/ 962499 w 1881147"/>
                  <a:gd name="connsiteY13" fmla="*/ 363529 h 1699373"/>
                  <a:gd name="connsiteX14" fmla="*/ 838674 w 1881147"/>
                  <a:gd name="connsiteY14" fmla="*/ 363529 h 1699373"/>
                  <a:gd name="connsiteX15" fmla="*/ 781524 w 1881147"/>
                  <a:gd name="connsiteY15" fmla="*/ 434967 h 1699373"/>
                  <a:gd name="connsiteX16" fmla="*/ 781524 w 1881147"/>
                  <a:gd name="connsiteY16" fmla="*/ 468304 h 1699373"/>
                  <a:gd name="connsiteX17" fmla="*/ 743424 w 1881147"/>
                  <a:gd name="connsiteY17" fmla="*/ 492117 h 1699373"/>
                  <a:gd name="connsiteX18" fmla="*/ 671986 w 1881147"/>
                  <a:gd name="connsiteY18" fmla="*/ 425442 h 1699373"/>
                  <a:gd name="connsiteX19" fmla="*/ 519586 w 1881147"/>
                  <a:gd name="connsiteY19" fmla="*/ 420679 h 1699373"/>
                  <a:gd name="connsiteX20" fmla="*/ 457674 w 1881147"/>
                  <a:gd name="connsiteY20" fmla="*/ 439729 h 1699373"/>
                  <a:gd name="connsiteX21" fmla="*/ 419574 w 1881147"/>
                  <a:gd name="connsiteY21" fmla="*/ 425442 h 1699373"/>
                  <a:gd name="connsiteX22" fmla="*/ 400524 w 1881147"/>
                  <a:gd name="connsiteY22" fmla="*/ 363529 h 1699373"/>
                  <a:gd name="connsiteX23" fmla="*/ 333849 w 1881147"/>
                  <a:gd name="connsiteY23" fmla="*/ 311142 h 1699373"/>
                  <a:gd name="connsiteX24" fmla="*/ 286224 w 1881147"/>
                  <a:gd name="connsiteY24" fmla="*/ 244467 h 1699373"/>
                  <a:gd name="connsiteX25" fmla="*/ 143349 w 1881147"/>
                  <a:gd name="connsiteY25" fmla="*/ 263517 h 1699373"/>
                  <a:gd name="connsiteX26" fmla="*/ 124299 w 1881147"/>
                  <a:gd name="connsiteY26" fmla="*/ 339717 h 1699373"/>
                  <a:gd name="connsiteX27" fmla="*/ 110011 w 1881147"/>
                  <a:gd name="connsiteY27" fmla="*/ 373054 h 1699373"/>
                  <a:gd name="connsiteX28" fmla="*/ 133824 w 1881147"/>
                  <a:gd name="connsiteY28" fmla="*/ 420679 h 1699373"/>
                  <a:gd name="connsiteX29" fmla="*/ 81436 w 1881147"/>
                  <a:gd name="connsiteY29" fmla="*/ 458779 h 1699373"/>
                  <a:gd name="connsiteX30" fmla="*/ 33811 w 1881147"/>
                  <a:gd name="connsiteY30" fmla="*/ 454017 h 1699373"/>
                  <a:gd name="connsiteX31" fmla="*/ 33811 w 1881147"/>
                  <a:gd name="connsiteY31" fmla="*/ 525454 h 1699373"/>
                  <a:gd name="connsiteX32" fmla="*/ 474 w 1881147"/>
                  <a:gd name="connsiteY32" fmla="*/ 630229 h 1699373"/>
                  <a:gd name="connsiteX33" fmla="*/ 62386 w 1881147"/>
                  <a:gd name="connsiteY33" fmla="*/ 706429 h 1699373"/>
                  <a:gd name="connsiteX34" fmla="*/ 111977 w 1881147"/>
                  <a:gd name="connsiteY34" fmla="*/ 686691 h 1699373"/>
                  <a:gd name="connsiteX35" fmla="*/ 112334 w 1881147"/>
                  <a:gd name="connsiteY35" fmla="*/ 756950 h 1699373"/>
                  <a:gd name="connsiteX36" fmla="*/ 167161 w 1881147"/>
                  <a:gd name="connsiteY36" fmla="*/ 787392 h 1699373"/>
                  <a:gd name="connsiteX37" fmla="*/ 236159 w 1881147"/>
                  <a:gd name="connsiteY37" fmla="*/ 797604 h 1699373"/>
                  <a:gd name="connsiteX38" fmla="*/ 271462 w 1881147"/>
                  <a:gd name="connsiteY38" fmla="*/ 853575 h 1699373"/>
                  <a:gd name="connsiteX39" fmla="*/ 270869 w 1881147"/>
                  <a:gd name="connsiteY39" fmla="*/ 898647 h 1699373"/>
                  <a:gd name="connsiteX40" fmla="*/ 295393 w 1881147"/>
                  <a:gd name="connsiteY40" fmla="*/ 938122 h 1699373"/>
                  <a:gd name="connsiteX41" fmla="*/ 341051 w 1881147"/>
                  <a:gd name="connsiteY41" fmla="*/ 976714 h 1699373"/>
                  <a:gd name="connsiteX42" fmla="*/ 426184 w 1881147"/>
                  <a:gd name="connsiteY42" fmla="*/ 1030966 h 1699373"/>
                  <a:gd name="connsiteX43" fmla="*/ 461961 w 1881147"/>
                  <a:gd name="connsiteY43" fmla="*/ 1102059 h 1699373"/>
                  <a:gd name="connsiteX44" fmla="*/ 441064 w 1881147"/>
                  <a:gd name="connsiteY44" fmla="*/ 1171632 h 1699373"/>
                  <a:gd name="connsiteX45" fmla="*/ 519111 w 1881147"/>
                  <a:gd name="connsiteY45" fmla="*/ 1228095 h 1699373"/>
                  <a:gd name="connsiteX46" fmla="*/ 591143 w 1881147"/>
                  <a:gd name="connsiteY46" fmla="*/ 1261089 h 1699373"/>
                  <a:gd name="connsiteX47" fmla="*/ 571974 w 1881147"/>
                  <a:gd name="connsiteY47" fmla="*/ 1320792 h 1699373"/>
                  <a:gd name="connsiteX48" fmla="*/ 662461 w 1881147"/>
                  <a:gd name="connsiteY48" fmla="*/ 1473192 h 1699373"/>
                  <a:gd name="connsiteX49" fmla="*/ 755271 w 1881147"/>
                  <a:gd name="connsiteY49" fmla="*/ 1546346 h 1699373"/>
                  <a:gd name="connsiteX50" fmla="*/ 805336 w 1881147"/>
                  <a:gd name="connsiteY50" fmla="*/ 1497004 h 1699373"/>
                  <a:gd name="connsiteX51" fmla="*/ 869926 w 1881147"/>
                  <a:gd name="connsiteY51" fmla="*/ 1524401 h 1699373"/>
                  <a:gd name="connsiteX52" fmla="*/ 924399 w 1881147"/>
                  <a:gd name="connsiteY52" fmla="*/ 1492242 h 1699373"/>
                  <a:gd name="connsiteX53" fmla="*/ 941246 w 1881147"/>
                  <a:gd name="connsiteY53" fmla="*/ 1450066 h 1699373"/>
                  <a:gd name="connsiteX54" fmla="*/ 1005123 w 1881147"/>
                  <a:gd name="connsiteY54" fmla="*/ 1536478 h 1699373"/>
                  <a:gd name="connsiteX55" fmla="*/ 1050190 w 1881147"/>
                  <a:gd name="connsiteY55" fmla="*/ 1607572 h 1699373"/>
                  <a:gd name="connsiteX56" fmla="*/ 1120136 w 1881147"/>
                  <a:gd name="connsiteY56" fmla="*/ 1699091 h 1699373"/>
                  <a:gd name="connsiteX57" fmla="*/ 1151034 w 1881147"/>
                  <a:gd name="connsiteY57" fmla="*/ 1636000 h 1699373"/>
                  <a:gd name="connsiteX58" fmla="*/ 1181693 w 1881147"/>
                  <a:gd name="connsiteY58" fmla="*/ 1629520 h 1699373"/>
                  <a:gd name="connsiteX59" fmla="*/ 1224792 w 1881147"/>
                  <a:gd name="connsiteY59" fmla="*/ 1658783 h 1699373"/>
                  <a:gd name="connsiteX60" fmla="*/ 1258367 w 1881147"/>
                  <a:gd name="connsiteY60" fmla="*/ 1618129 h 1699373"/>
                  <a:gd name="connsiteX61" fmla="*/ 1277188 w 1881147"/>
                  <a:gd name="connsiteY61" fmla="*/ 1622746 h 1699373"/>
                  <a:gd name="connsiteX62" fmla="*/ 1311230 w 1881147"/>
                  <a:gd name="connsiteY62" fmla="*/ 1689223 h 1699373"/>
                  <a:gd name="connsiteX63" fmla="*/ 1367786 w 1881147"/>
                  <a:gd name="connsiteY63" fmla="*/ 1665754 h 1699373"/>
                  <a:gd name="connsiteX64" fmla="*/ 1419818 w 1881147"/>
                  <a:gd name="connsiteY64" fmla="*/ 1609633 h 1699373"/>
                  <a:gd name="connsiteX65" fmla="*/ 1470595 w 1881147"/>
                  <a:gd name="connsiteY65" fmla="*/ 1593090 h 1699373"/>
                  <a:gd name="connsiteX66" fmla="*/ 1488274 w 1881147"/>
                  <a:gd name="connsiteY66" fmla="*/ 1648912 h 1699373"/>
                  <a:gd name="connsiteX67" fmla="*/ 1558169 w 1881147"/>
                  <a:gd name="connsiteY67" fmla="*/ 1623234 h 1699373"/>
                  <a:gd name="connsiteX68" fmla="*/ 1588947 w 1881147"/>
                  <a:gd name="connsiteY68" fmla="*/ 1536478 h 1699373"/>
                  <a:gd name="connsiteX69" fmla="*/ 1670383 w 1881147"/>
                  <a:gd name="connsiteY69" fmla="*/ 1446336 h 1699373"/>
                  <a:gd name="connsiteX70" fmla="*/ 1714974 w 1881147"/>
                  <a:gd name="connsiteY70" fmla="*/ 1415206 h 1699373"/>
                  <a:gd name="connsiteX71" fmla="*/ 1743343 w 1881147"/>
                  <a:gd name="connsiteY71" fmla="*/ 1418501 h 1699373"/>
                  <a:gd name="connsiteX72" fmla="*/ 1820935 w 1881147"/>
                  <a:gd name="connsiteY72" fmla="*/ 1407893 h 1699373"/>
                  <a:gd name="connsiteX73" fmla="*/ 1816054 w 1881147"/>
                  <a:gd name="connsiteY73" fmla="*/ 1461457 h 1699373"/>
                  <a:gd name="connsiteX74" fmla="*/ 1874221 w 1881147"/>
                  <a:gd name="connsiteY74" fmla="*/ 1484778 h 1699373"/>
                  <a:gd name="connsiteX75" fmla="*/ 1875829 w 1881147"/>
                  <a:gd name="connsiteY75" fmla="*/ 1462144 h 1699373"/>
                  <a:gd name="connsiteX76" fmla="*/ 1875051 w 1881147"/>
                  <a:gd name="connsiteY76" fmla="*/ 1401410 h 1699373"/>
                  <a:gd name="connsiteX77" fmla="*/ 1853086 w 1881147"/>
                  <a:gd name="connsiteY77" fmla="*/ 1311267 h 1699373"/>
                  <a:gd name="connsiteX78" fmla="*/ 1853086 w 1881147"/>
                  <a:gd name="connsiteY78" fmla="*/ 1254117 h 1699373"/>
                  <a:gd name="connsiteX79" fmla="*/ 1810224 w 1881147"/>
                  <a:gd name="connsiteY79" fmla="*/ 1244592 h 1699373"/>
                  <a:gd name="connsiteX80" fmla="*/ 1734024 w 1881147"/>
                  <a:gd name="connsiteY80" fmla="*/ 1163629 h 1699373"/>
                  <a:gd name="connsiteX81" fmla="*/ 1695924 w 1881147"/>
                  <a:gd name="connsiteY81" fmla="*/ 982654 h 1699373"/>
                  <a:gd name="connsiteX82" fmla="*/ 1643536 w 1881147"/>
                  <a:gd name="connsiteY82" fmla="*/ 949317 h 1699373"/>
                  <a:gd name="connsiteX83" fmla="*/ 1605436 w 1881147"/>
                  <a:gd name="connsiteY83" fmla="*/ 892167 h 1699373"/>
                  <a:gd name="connsiteX84" fmla="*/ 1557811 w 1881147"/>
                  <a:gd name="connsiteY84" fmla="*/ 844542 h 1699373"/>
                  <a:gd name="connsiteX85" fmla="*/ 1505424 w 1881147"/>
                  <a:gd name="connsiteY85" fmla="*/ 825492 h 1699373"/>
                  <a:gd name="connsiteX86" fmla="*/ 1453036 w 1881147"/>
                  <a:gd name="connsiteY86" fmla="*/ 820729 h 1699373"/>
                  <a:gd name="connsiteX87" fmla="*/ 1510186 w 1881147"/>
                  <a:gd name="connsiteY87" fmla="*/ 787392 h 1699373"/>
                  <a:gd name="connsiteX88" fmla="*/ 1476849 w 1881147"/>
                  <a:gd name="connsiteY88" fmla="*/ 754054 h 1699373"/>
                  <a:gd name="connsiteX89" fmla="*/ 1481611 w 1881147"/>
                  <a:gd name="connsiteY89" fmla="*/ 730242 h 1699373"/>
                  <a:gd name="connsiteX90" fmla="*/ 1572099 w 1881147"/>
                  <a:gd name="connsiteY90" fmla="*/ 768342 h 1699373"/>
                  <a:gd name="connsiteX91" fmla="*/ 1624486 w 1881147"/>
                  <a:gd name="connsiteY91" fmla="*/ 701667 h 1699373"/>
                  <a:gd name="connsiteX92" fmla="*/ 1622283 w 1881147"/>
                  <a:gd name="connsiteY92" fmla="*/ 558792 h 1699373"/>
                  <a:gd name="connsiteX93" fmla="*/ 1639486 w 1881147"/>
                  <a:gd name="connsiteY93" fmla="*/ 410466 h 1699373"/>
                  <a:gd name="connsiteX0" fmla="*/ 1639486 w 1881147"/>
                  <a:gd name="connsiteY0" fmla="*/ 409992 h 1698899"/>
                  <a:gd name="connsiteX1" fmla="*/ 1567336 w 1881147"/>
                  <a:gd name="connsiteY1" fmla="*/ 377343 h 1698899"/>
                  <a:gd name="connsiteX2" fmla="*/ 1477087 w 1881147"/>
                  <a:gd name="connsiteY2" fmla="*/ 353530 h 1698899"/>
                  <a:gd name="connsiteX3" fmla="*/ 1423767 w 1881147"/>
                  <a:gd name="connsiteY3" fmla="*/ 276446 h 1698899"/>
                  <a:gd name="connsiteX4" fmla="*/ 1395785 w 1881147"/>
                  <a:gd name="connsiteY4" fmla="*/ 174601 h 1698899"/>
                  <a:gd name="connsiteX5" fmla="*/ 1364769 w 1881147"/>
                  <a:gd name="connsiteY5" fmla="*/ 6539 h 1698899"/>
                  <a:gd name="connsiteX6" fmla="*/ 1282757 w 1881147"/>
                  <a:gd name="connsiteY6" fmla="*/ 43131 h 1698899"/>
                  <a:gd name="connsiteX7" fmla="*/ 1244198 w 1881147"/>
                  <a:gd name="connsiteY7" fmla="*/ 126336 h 1698899"/>
                  <a:gd name="connsiteX8" fmla="*/ 1214911 w 1881147"/>
                  <a:gd name="connsiteY8" fmla="*/ 163030 h 1698899"/>
                  <a:gd name="connsiteX9" fmla="*/ 1186336 w 1881147"/>
                  <a:gd name="connsiteY9" fmla="*/ 191605 h 1698899"/>
                  <a:gd name="connsiteX10" fmla="*/ 1176811 w 1881147"/>
                  <a:gd name="connsiteY10" fmla="*/ 263043 h 1698899"/>
                  <a:gd name="connsiteX11" fmla="*/ 1114899 w 1881147"/>
                  <a:gd name="connsiteY11" fmla="*/ 305905 h 1698899"/>
                  <a:gd name="connsiteX12" fmla="*/ 1005361 w 1881147"/>
                  <a:gd name="connsiteY12" fmla="*/ 320193 h 1698899"/>
                  <a:gd name="connsiteX13" fmla="*/ 962499 w 1881147"/>
                  <a:gd name="connsiteY13" fmla="*/ 363055 h 1698899"/>
                  <a:gd name="connsiteX14" fmla="*/ 838674 w 1881147"/>
                  <a:gd name="connsiteY14" fmla="*/ 363055 h 1698899"/>
                  <a:gd name="connsiteX15" fmla="*/ 781524 w 1881147"/>
                  <a:gd name="connsiteY15" fmla="*/ 434493 h 1698899"/>
                  <a:gd name="connsiteX16" fmla="*/ 781524 w 1881147"/>
                  <a:gd name="connsiteY16" fmla="*/ 467830 h 1698899"/>
                  <a:gd name="connsiteX17" fmla="*/ 743424 w 1881147"/>
                  <a:gd name="connsiteY17" fmla="*/ 491643 h 1698899"/>
                  <a:gd name="connsiteX18" fmla="*/ 671986 w 1881147"/>
                  <a:gd name="connsiteY18" fmla="*/ 424968 h 1698899"/>
                  <a:gd name="connsiteX19" fmla="*/ 519586 w 1881147"/>
                  <a:gd name="connsiteY19" fmla="*/ 420205 h 1698899"/>
                  <a:gd name="connsiteX20" fmla="*/ 457674 w 1881147"/>
                  <a:gd name="connsiteY20" fmla="*/ 439255 h 1698899"/>
                  <a:gd name="connsiteX21" fmla="*/ 419574 w 1881147"/>
                  <a:gd name="connsiteY21" fmla="*/ 424968 h 1698899"/>
                  <a:gd name="connsiteX22" fmla="*/ 400524 w 1881147"/>
                  <a:gd name="connsiteY22" fmla="*/ 363055 h 1698899"/>
                  <a:gd name="connsiteX23" fmla="*/ 333849 w 1881147"/>
                  <a:gd name="connsiteY23" fmla="*/ 310668 h 1698899"/>
                  <a:gd name="connsiteX24" fmla="*/ 286224 w 1881147"/>
                  <a:gd name="connsiteY24" fmla="*/ 243993 h 1698899"/>
                  <a:gd name="connsiteX25" fmla="*/ 143349 w 1881147"/>
                  <a:gd name="connsiteY25" fmla="*/ 263043 h 1698899"/>
                  <a:gd name="connsiteX26" fmla="*/ 124299 w 1881147"/>
                  <a:gd name="connsiteY26" fmla="*/ 339243 h 1698899"/>
                  <a:gd name="connsiteX27" fmla="*/ 110011 w 1881147"/>
                  <a:gd name="connsiteY27" fmla="*/ 372580 h 1698899"/>
                  <a:gd name="connsiteX28" fmla="*/ 133824 w 1881147"/>
                  <a:gd name="connsiteY28" fmla="*/ 420205 h 1698899"/>
                  <a:gd name="connsiteX29" fmla="*/ 81436 w 1881147"/>
                  <a:gd name="connsiteY29" fmla="*/ 458305 h 1698899"/>
                  <a:gd name="connsiteX30" fmla="*/ 33811 w 1881147"/>
                  <a:gd name="connsiteY30" fmla="*/ 453543 h 1698899"/>
                  <a:gd name="connsiteX31" fmla="*/ 33811 w 1881147"/>
                  <a:gd name="connsiteY31" fmla="*/ 524980 h 1698899"/>
                  <a:gd name="connsiteX32" fmla="*/ 474 w 1881147"/>
                  <a:gd name="connsiteY32" fmla="*/ 629755 h 1698899"/>
                  <a:gd name="connsiteX33" fmla="*/ 62386 w 1881147"/>
                  <a:gd name="connsiteY33" fmla="*/ 705955 h 1698899"/>
                  <a:gd name="connsiteX34" fmla="*/ 111977 w 1881147"/>
                  <a:gd name="connsiteY34" fmla="*/ 686217 h 1698899"/>
                  <a:gd name="connsiteX35" fmla="*/ 112334 w 1881147"/>
                  <a:gd name="connsiteY35" fmla="*/ 756476 h 1698899"/>
                  <a:gd name="connsiteX36" fmla="*/ 167161 w 1881147"/>
                  <a:gd name="connsiteY36" fmla="*/ 786918 h 1698899"/>
                  <a:gd name="connsiteX37" fmla="*/ 236159 w 1881147"/>
                  <a:gd name="connsiteY37" fmla="*/ 797130 h 1698899"/>
                  <a:gd name="connsiteX38" fmla="*/ 271462 w 1881147"/>
                  <a:gd name="connsiteY38" fmla="*/ 853101 h 1698899"/>
                  <a:gd name="connsiteX39" fmla="*/ 270869 w 1881147"/>
                  <a:gd name="connsiteY39" fmla="*/ 898173 h 1698899"/>
                  <a:gd name="connsiteX40" fmla="*/ 295393 w 1881147"/>
                  <a:gd name="connsiteY40" fmla="*/ 937648 h 1698899"/>
                  <a:gd name="connsiteX41" fmla="*/ 341051 w 1881147"/>
                  <a:gd name="connsiteY41" fmla="*/ 976240 h 1698899"/>
                  <a:gd name="connsiteX42" fmla="*/ 426184 w 1881147"/>
                  <a:gd name="connsiteY42" fmla="*/ 1030492 h 1698899"/>
                  <a:gd name="connsiteX43" fmla="*/ 461961 w 1881147"/>
                  <a:gd name="connsiteY43" fmla="*/ 1101585 h 1698899"/>
                  <a:gd name="connsiteX44" fmla="*/ 441064 w 1881147"/>
                  <a:gd name="connsiteY44" fmla="*/ 1171158 h 1698899"/>
                  <a:gd name="connsiteX45" fmla="*/ 519111 w 1881147"/>
                  <a:gd name="connsiteY45" fmla="*/ 1227621 h 1698899"/>
                  <a:gd name="connsiteX46" fmla="*/ 591143 w 1881147"/>
                  <a:gd name="connsiteY46" fmla="*/ 1260615 h 1698899"/>
                  <a:gd name="connsiteX47" fmla="*/ 571974 w 1881147"/>
                  <a:gd name="connsiteY47" fmla="*/ 1320318 h 1698899"/>
                  <a:gd name="connsiteX48" fmla="*/ 662461 w 1881147"/>
                  <a:gd name="connsiteY48" fmla="*/ 1472718 h 1698899"/>
                  <a:gd name="connsiteX49" fmla="*/ 755271 w 1881147"/>
                  <a:gd name="connsiteY49" fmla="*/ 1545872 h 1698899"/>
                  <a:gd name="connsiteX50" fmla="*/ 805336 w 1881147"/>
                  <a:gd name="connsiteY50" fmla="*/ 1496530 h 1698899"/>
                  <a:gd name="connsiteX51" fmla="*/ 869926 w 1881147"/>
                  <a:gd name="connsiteY51" fmla="*/ 1523927 h 1698899"/>
                  <a:gd name="connsiteX52" fmla="*/ 924399 w 1881147"/>
                  <a:gd name="connsiteY52" fmla="*/ 1491768 h 1698899"/>
                  <a:gd name="connsiteX53" fmla="*/ 941246 w 1881147"/>
                  <a:gd name="connsiteY53" fmla="*/ 1449592 h 1698899"/>
                  <a:gd name="connsiteX54" fmla="*/ 1005123 w 1881147"/>
                  <a:gd name="connsiteY54" fmla="*/ 1536004 h 1698899"/>
                  <a:gd name="connsiteX55" fmla="*/ 1050190 w 1881147"/>
                  <a:gd name="connsiteY55" fmla="*/ 1607098 h 1698899"/>
                  <a:gd name="connsiteX56" fmla="*/ 1120136 w 1881147"/>
                  <a:gd name="connsiteY56" fmla="*/ 1698617 h 1698899"/>
                  <a:gd name="connsiteX57" fmla="*/ 1151034 w 1881147"/>
                  <a:gd name="connsiteY57" fmla="*/ 1635526 h 1698899"/>
                  <a:gd name="connsiteX58" fmla="*/ 1181693 w 1881147"/>
                  <a:gd name="connsiteY58" fmla="*/ 1629046 h 1698899"/>
                  <a:gd name="connsiteX59" fmla="*/ 1224792 w 1881147"/>
                  <a:gd name="connsiteY59" fmla="*/ 1658309 h 1698899"/>
                  <a:gd name="connsiteX60" fmla="*/ 1258367 w 1881147"/>
                  <a:gd name="connsiteY60" fmla="*/ 1617655 h 1698899"/>
                  <a:gd name="connsiteX61" fmla="*/ 1277188 w 1881147"/>
                  <a:gd name="connsiteY61" fmla="*/ 1622272 h 1698899"/>
                  <a:gd name="connsiteX62" fmla="*/ 1311230 w 1881147"/>
                  <a:gd name="connsiteY62" fmla="*/ 1688749 h 1698899"/>
                  <a:gd name="connsiteX63" fmla="*/ 1367786 w 1881147"/>
                  <a:gd name="connsiteY63" fmla="*/ 1665280 h 1698899"/>
                  <a:gd name="connsiteX64" fmla="*/ 1419818 w 1881147"/>
                  <a:gd name="connsiteY64" fmla="*/ 1609159 h 1698899"/>
                  <a:gd name="connsiteX65" fmla="*/ 1470595 w 1881147"/>
                  <a:gd name="connsiteY65" fmla="*/ 1592616 h 1698899"/>
                  <a:gd name="connsiteX66" fmla="*/ 1488274 w 1881147"/>
                  <a:gd name="connsiteY66" fmla="*/ 1648438 h 1698899"/>
                  <a:gd name="connsiteX67" fmla="*/ 1558169 w 1881147"/>
                  <a:gd name="connsiteY67" fmla="*/ 1622760 h 1698899"/>
                  <a:gd name="connsiteX68" fmla="*/ 1588947 w 1881147"/>
                  <a:gd name="connsiteY68" fmla="*/ 1536004 h 1698899"/>
                  <a:gd name="connsiteX69" fmla="*/ 1670383 w 1881147"/>
                  <a:gd name="connsiteY69" fmla="*/ 1445862 h 1698899"/>
                  <a:gd name="connsiteX70" fmla="*/ 1714974 w 1881147"/>
                  <a:gd name="connsiteY70" fmla="*/ 1414732 h 1698899"/>
                  <a:gd name="connsiteX71" fmla="*/ 1743343 w 1881147"/>
                  <a:gd name="connsiteY71" fmla="*/ 1418027 h 1698899"/>
                  <a:gd name="connsiteX72" fmla="*/ 1820935 w 1881147"/>
                  <a:gd name="connsiteY72" fmla="*/ 1407419 h 1698899"/>
                  <a:gd name="connsiteX73" fmla="*/ 1816054 w 1881147"/>
                  <a:gd name="connsiteY73" fmla="*/ 1460983 h 1698899"/>
                  <a:gd name="connsiteX74" fmla="*/ 1874221 w 1881147"/>
                  <a:gd name="connsiteY74" fmla="*/ 1484304 h 1698899"/>
                  <a:gd name="connsiteX75" fmla="*/ 1875829 w 1881147"/>
                  <a:gd name="connsiteY75" fmla="*/ 1461670 h 1698899"/>
                  <a:gd name="connsiteX76" fmla="*/ 1875051 w 1881147"/>
                  <a:gd name="connsiteY76" fmla="*/ 1400936 h 1698899"/>
                  <a:gd name="connsiteX77" fmla="*/ 1853086 w 1881147"/>
                  <a:gd name="connsiteY77" fmla="*/ 1310793 h 1698899"/>
                  <a:gd name="connsiteX78" fmla="*/ 1853086 w 1881147"/>
                  <a:gd name="connsiteY78" fmla="*/ 1253643 h 1698899"/>
                  <a:gd name="connsiteX79" fmla="*/ 1810224 w 1881147"/>
                  <a:gd name="connsiteY79" fmla="*/ 1244118 h 1698899"/>
                  <a:gd name="connsiteX80" fmla="*/ 1734024 w 1881147"/>
                  <a:gd name="connsiteY80" fmla="*/ 1163155 h 1698899"/>
                  <a:gd name="connsiteX81" fmla="*/ 1695924 w 1881147"/>
                  <a:gd name="connsiteY81" fmla="*/ 982180 h 1698899"/>
                  <a:gd name="connsiteX82" fmla="*/ 1643536 w 1881147"/>
                  <a:gd name="connsiteY82" fmla="*/ 948843 h 1698899"/>
                  <a:gd name="connsiteX83" fmla="*/ 1605436 w 1881147"/>
                  <a:gd name="connsiteY83" fmla="*/ 891693 h 1698899"/>
                  <a:gd name="connsiteX84" fmla="*/ 1557811 w 1881147"/>
                  <a:gd name="connsiteY84" fmla="*/ 844068 h 1698899"/>
                  <a:gd name="connsiteX85" fmla="*/ 1505424 w 1881147"/>
                  <a:gd name="connsiteY85" fmla="*/ 825018 h 1698899"/>
                  <a:gd name="connsiteX86" fmla="*/ 1453036 w 1881147"/>
                  <a:gd name="connsiteY86" fmla="*/ 820255 h 1698899"/>
                  <a:gd name="connsiteX87" fmla="*/ 1510186 w 1881147"/>
                  <a:gd name="connsiteY87" fmla="*/ 786918 h 1698899"/>
                  <a:gd name="connsiteX88" fmla="*/ 1476849 w 1881147"/>
                  <a:gd name="connsiteY88" fmla="*/ 753580 h 1698899"/>
                  <a:gd name="connsiteX89" fmla="*/ 1481611 w 1881147"/>
                  <a:gd name="connsiteY89" fmla="*/ 729768 h 1698899"/>
                  <a:gd name="connsiteX90" fmla="*/ 1572099 w 1881147"/>
                  <a:gd name="connsiteY90" fmla="*/ 767868 h 1698899"/>
                  <a:gd name="connsiteX91" fmla="*/ 1624486 w 1881147"/>
                  <a:gd name="connsiteY91" fmla="*/ 701193 h 1698899"/>
                  <a:gd name="connsiteX92" fmla="*/ 1622283 w 1881147"/>
                  <a:gd name="connsiteY92" fmla="*/ 558318 h 1698899"/>
                  <a:gd name="connsiteX93" fmla="*/ 1639486 w 1881147"/>
                  <a:gd name="connsiteY93" fmla="*/ 409992 h 1698899"/>
                  <a:gd name="connsiteX0" fmla="*/ 1639486 w 1881147"/>
                  <a:gd name="connsiteY0" fmla="*/ 410565 h 1699472"/>
                  <a:gd name="connsiteX1" fmla="*/ 1567336 w 1881147"/>
                  <a:gd name="connsiteY1" fmla="*/ 377916 h 1699472"/>
                  <a:gd name="connsiteX2" fmla="*/ 1477087 w 1881147"/>
                  <a:gd name="connsiteY2" fmla="*/ 354103 h 1699472"/>
                  <a:gd name="connsiteX3" fmla="*/ 1423767 w 1881147"/>
                  <a:gd name="connsiteY3" fmla="*/ 277019 h 1699472"/>
                  <a:gd name="connsiteX4" fmla="*/ 1395785 w 1881147"/>
                  <a:gd name="connsiteY4" fmla="*/ 175174 h 1699472"/>
                  <a:gd name="connsiteX5" fmla="*/ 1364769 w 1881147"/>
                  <a:gd name="connsiteY5" fmla="*/ 7112 h 1699472"/>
                  <a:gd name="connsiteX6" fmla="*/ 1282757 w 1881147"/>
                  <a:gd name="connsiteY6" fmla="*/ 43704 h 1699472"/>
                  <a:gd name="connsiteX7" fmla="*/ 1275927 w 1881147"/>
                  <a:gd name="connsiteY7" fmla="*/ 157546 h 1699472"/>
                  <a:gd name="connsiteX8" fmla="*/ 1214911 w 1881147"/>
                  <a:gd name="connsiteY8" fmla="*/ 163603 h 1699472"/>
                  <a:gd name="connsiteX9" fmla="*/ 1186336 w 1881147"/>
                  <a:gd name="connsiteY9" fmla="*/ 192178 h 1699472"/>
                  <a:gd name="connsiteX10" fmla="*/ 1176811 w 1881147"/>
                  <a:gd name="connsiteY10" fmla="*/ 263616 h 1699472"/>
                  <a:gd name="connsiteX11" fmla="*/ 1114899 w 1881147"/>
                  <a:gd name="connsiteY11" fmla="*/ 306478 h 1699472"/>
                  <a:gd name="connsiteX12" fmla="*/ 1005361 w 1881147"/>
                  <a:gd name="connsiteY12" fmla="*/ 320766 h 1699472"/>
                  <a:gd name="connsiteX13" fmla="*/ 962499 w 1881147"/>
                  <a:gd name="connsiteY13" fmla="*/ 363628 h 1699472"/>
                  <a:gd name="connsiteX14" fmla="*/ 838674 w 1881147"/>
                  <a:gd name="connsiteY14" fmla="*/ 363628 h 1699472"/>
                  <a:gd name="connsiteX15" fmla="*/ 781524 w 1881147"/>
                  <a:gd name="connsiteY15" fmla="*/ 435066 h 1699472"/>
                  <a:gd name="connsiteX16" fmla="*/ 781524 w 1881147"/>
                  <a:gd name="connsiteY16" fmla="*/ 468403 h 1699472"/>
                  <a:gd name="connsiteX17" fmla="*/ 743424 w 1881147"/>
                  <a:gd name="connsiteY17" fmla="*/ 492216 h 1699472"/>
                  <a:gd name="connsiteX18" fmla="*/ 671986 w 1881147"/>
                  <a:gd name="connsiteY18" fmla="*/ 425541 h 1699472"/>
                  <a:gd name="connsiteX19" fmla="*/ 519586 w 1881147"/>
                  <a:gd name="connsiteY19" fmla="*/ 420778 h 1699472"/>
                  <a:gd name="connsiteX20" fmla="*/ 457674 w 1881147"/>
                  <a:gd name="connsiteY20" fmla="*/ 439828 h 1699472"/>
                  <a:gd name="connsiteX21" fmla="*/ 419574 w 1881147"/>
                  <a:gd name="connsiteY21" fmla="*/ 425541 h 1699472"/>
                  <a:gd name="connsiteX22" fmla="*/ 400524 w 1881147"/>
                  <a:gd name="connsiteY22" fmla="*/ 363628 h 1699472"/>
                  <a:gd name="connsiteX23" fmla="*/ 333849 w 1881147"/>
                  <a:gd name="connsiteY23" fmla="*/ 311241 h 1699472"/>
                  <a:gd name="connsiteX24" fmla="*/ 286224 w 1881147"/>
                  <a:gd name="connsiteY24" fmla="*/ 244566 h 1699472"/>
                  <a:gd name="connsiteX25" fmla="*/ 143349 w 1881147"/>
                  <a:gd name="connsiteY25" fmla="*/ 263616 h 1699472"/>
                  <a:gd name="connsiteX26" fmla="*/ 124299 w 1881147"/>
                  <a:gd name="connsiteY26" fmla="*/ 339816 h 1699472"/>
                  <a:gd name="connsiteX27" fmla="*/ 110011 w 1881147"/>
                  <a:gd name="connsiteY27" fmla="*/ 373153 h 1699472"/>
                  <a:gd name="connsiteX28" fmla="*/ 133824 w 1881147"/>
                  <a:gd name="connsiteY28" fmla="*/ 420778 h 1699472"/>
                  <a:gd name="connsiteX29" fmla="*/ 81436 w 1881147"/>
                  <a:gd name="connsiteY29" fmla="*/ 458878 h 1699472"/>
                  <a:gd name="connsiteX30" fmla="*/ 33811 w 1881147"/>
                  <a:gd name="connsiteY30" fmla="*/ 454116 h 1699472"/>
                  <a:gd name="connsiteX31" fmla="*/ 33811 w 1881147"/>
                  <a:gd name="connsiteY31" fmla="*/ 525553 h 1699472"/>
                  <a:gd name="connsiteX32" fmla="*/ 474 w 1881147"/>
                  <a:gd name="connsiteY32" fmla="*/ 630328 h 1699472"/>
                  <a:gd name="connsiteX33" fmla="*/ 62386 w 1881147"/>
                  <a:gd name="connsiteY33" fmla="*/ 706528 h 1699472"/>
                  <a:gd name="connsiteX34" fmla="*/ 111977 w 1881147"/>
                  <a:gd name="connsiteY34" fmla="*/ 686790 h 1699472"/>
                  <a:gd name="connsiteX35" fmla="*/ 112334 w 1881147"/>
                  <a:gd name="connsiteY35" fmla="*/ 757049 h 1699472"/>
                  <a:gd name="connsiteX36" fmla="*/ 167161 w 1881147"/>
                  <a:gd name="connsiteY36" fmla="*/ 787491 h 1699472"/>
                  <a:gd name="connsiteX37" fmla="*/ 236159 w 1881147"/>
                  <a:gd name="connsiteY37" fmla="*/ 797703 h 1699472"/>
                  <a:gd name="connsiteX38" fmla="*/ 271462 w 1881147"/>
                  <a:gd name="connsiteY38" fmla="*/ 853674 h 1699472"/>
                  <a:gd name="connsiteX39" fmla="*/ 270869 w 1881147"/>
                  <a:gd name="connsiteY39" fmla="*/ 898746 h 1699472"/>
                  <a:gd name="connsiteX40" fmla="*/ 295393 w 1881147"/>
                  <a:gd name="connsiteY40" fmla="*/ 938221 h 1699472"/>
                  <a:gd name="connsiteX41" fmla="*/ 341051 w 1881147"/>
                  <a:gd name="connsiteY41" fmla="*/ 976813 h 1699472"/>
                  <a:gd name="connsiteX42" fmla="*/ 426184 w 1881147"/>
                  <a:gd name="connsiteY42" fmla="*/ 1031065 h 1699472"/>
                  <a:gd name="connsiteX43" fmla="*/ 461961 w 1881147"/>
                  <a:gd name="connsiteY43" fmla="*/ 1102158 h 1699472"/>
                  <a:gd name="connsiteX44" fmla="*/ 441064 w 1881147"/>
                  <a:gd name="connsiteY44" fmla="*/ 1171731 h 1699472"/>
                  <a:gd name="connsiteX45" fmla="*/ 519111 w 1881147"/>
                  <a:gd name="connsiteY45" fmla="*/ 1228194 h 1699472"/>
                  <a:gd name="connsiteX46" fmla="*/ 591143 w 1881147"/>
                  <a:gd name="connsiteY46" fmla="*/ 1261188 h 1699472"/>
                  <a:gd name="connsiteX47" fmla="*/ 571974 w 1881147"/>
                  <a:gd name="connsiteY47" fmla="*/ 1320891 h 1699472"/>
                  <a:gd name="connsiteX48" fmla="*/ 662461 w 1881147"/>
                  <a:gd name="connsiteY48" fmla="*/ 1473291 h 1699472"/>
                  <a:gd name="connsiteX49" fmla="*/ 755271 w 1881147"/>
                  <a:gd name="connsiteY49" fmla="*/ 1546445 h 1699472"/>
                  <a:gd name="connsiteX50" fmla="*/ 805336 w 1881147"/>
                  <a:gd name="connsiteY50" fmla="*/ 1497103 h 1699472"/>
                  <a:gd name="connsiteX51" fmla="*/ 869926 w 1881147"/>
                  <a:gd name="connsiteY51" fmla="*/ 1524500 h 1699472"/>
                  <a:gd name="connsiteX52" fmla="*/ 924399 w 1881147"/>
                  <a:gd name="connsiteY52" fmla="*/ 1492341 h 1699472"/>
                  <a:gd name="connsiteX53" fmla="*/ 941246 w 1881147"/>
                  <a:gd name="connsiteY53" fmla="*/ 1450165 h 1699472"/>
                  <a:gd name="connsiteX54" fmla="*/ 1005123 w 1881147"/>
                  <a:gd name="connsiteY54" fmla="*/ 1536577 h 1699472"/>
                  <a:gd name="connsiteX55" fmla="*/ 1050190 w 1881147"/>
                  <a:gd name="connsiteY55" fmla="*/ 1607671 h 1699472"/>
                  <a:gd name="connsiteX56" fmla="*/ 1120136 w 1881147"/>
                  <a:gd name="connsiteY56" fmla="*/ 1699190 h 1699472"/>
                  <a:gd name="connsiteX57" fmla="*/ 1151034 w 1881147"/>
                  <a:gd name="connsiteY57" fmla="*/ 1636099 h 1699472"/>
                  <a:gd name="connsiteX58" fmla="*/ 1181693 w 1881147"/>
                  <a:gd name="connsiteY58" fmla="*/ 1629619 h 1699472"/>
                  <a:gd name="connsiteX59" fmla="*/ 1224792 w 1881147"/>
                  <a:gd name="connsiteY59" fmla="*/ 1658882 h 1699472"/>
                  <a:gd name="connsiteX60" fmla="*/ 1258367 w 1881147"/>
                  <a:gd name="connsiteY60" fmla="*/ 1618228 h 1699472"/>
                  <a:gd name="connsiteX61" fmla="*/ 1277188 w 1881147"/>
                  <a:gd name="connsiteY61" fmla="*/ 1622845 h 1699472"/>
                  <a:gd name="connsiteX62" fmla="*/ 1311230 w 1881147"/>
                  <a:gd name="connsiteY62" fmla="*/ 1689322 h 1699472"/>
                  <a:gd name="connsiteX63" fmla="*/ 1367786 w 1881147"/>
                  <a:gd name="connsiteY63" fmla="*/ 1665853 h 1699472"/>
                  <a:gd name="connsiteX64" fmla="*/ 1419818 w 1881147"/>
                  <a:gd name="connsiteY64" fmla="*/ 1609732 h 1699472"/>
                  <a:gd name="connsiteX65" fmla="*/ 1470595 w 1881147"/>
                  <a:gd name="connsiteY65" fmla="*/ 1593189 h 1699472"/>
                  <a:gd name="connsiteX66" fmla="*/ 1488274 w 1881147"/>
                  <a:gd name="connsiteY66" fmla="*/ 1649011 h 1699472"/>
                  <a:gd name="connsiteX67" fmla="*/ 1558169 w 1881147"/>
                  <a:gd name="connsiteY67" fmla="*/ 1623333 h 1699472"/>
                  <a:gd name="connsiteX68" fmla="*/ 1588947 w 1881147"/>
                  <a:gd name="connsiteY68" fmla="*/ 1536577 h 1699472"/>
                  <a:gd name="connsiteX69" fmla="*/ 1670383 w 1881147"/>
                  <a:gd name="connsiteY69" fmla="*/ 1446435 h 1699472"/>
                  <a:gd name="connsiteX70" fmla="*/ 1714974 w 1881147"/>
                  <a:gd name="connsiteY70" fmla="*/ 1415305 h 1699472"/>
                  <a:gd name="connsiteX71" fmla="*/ 1743343 w 1881147"/>
                  <a:gd name="connsiteY71" fmla="*/ 1418600 h 1699472"/>
                  <a:gd name="connsiteX72" fmla="*/ 1820935 w 1881147"/>
                  <a:gd name="connsiteY72" fmla="*/ 1407992 h 1699472"/>
                  <a:gd name="connsiteX73" fmla="*/ 1816054 w 1881147"/>
                  <a:gd name="connsiteY73" fmla="*/ 1461556 h 1699472"/>
                  <a:gd name="connsiteX74" fmla="*/ 1874221 w 1881147"/>
                  <a:gd name="connsiteY74" fmla="*/ 1484877 h 1699472"/>
                  <a:gd name="connsiteX75" fmla="*/ 1875829 w 1881147"/>
                  <a:gd name="connsiteY75" fmla="*/ 1462243 h 1699472"/>
                  <a:gd name="connsiteX76" fmla="*/ 1875051 w 1881147"/>
                  <a:gd name="connsiteY76" fmla="*/ 1401509 h 1699472"/>
                  <a:gd name="connsiteX77" fmla="*/ 1853086 w 1881147"/>
                  <a:gd name="connsiteY77" fmla="*/ 1311366 h 1699472"/>
                  <a:gd name="connsiteX78" fmla="*/ 1853086 w 1881147"/>
                  <a:gd name="connsiteY78" fmla="*/ 1254216 h 1699472"/>
                  <a:gd name="connsiteX79" fmla="*/ 1810224 w 1881147"/>
                  <a:gd name="connsiteY79" fmla="*/ 1244691 h 1699472"/>
                  <a:gd name="connsiteX80" fmla="*/ 1734024 w 1881147"/>
                  <a:gd name="connsiteY80" fmla="*/ 1163728 h 1699472"/>
                  <a:gd name="connsiteX81" fmla="*/ 1695924 w 1881147"/>
                  <a:gd name="connsiteY81" fmla="*/ 982753 h 1699472"/>
                  <a:gd name="connsiteX82" fmla="*/ 1643536 w 1881147"/>
                  <a:gd name="connsiteY82" fmla="*/ 949416 h 1699472"/>
                  <a:gd name="connsiteX83" fmla="*/ 1605436 w 1881147"/>
                  <a:gd name="connsiteY83" fmla="*/ 892266 h 1699472"/>
                  <a:gd name="connsiteX84" fmla="*/ 1557811 w 1881147"/>
                  <a:gd name="connsiteY84" fmla="*/ 844641 h 1699472"/>
                  <a:gd name="connsiteX85" fmla="*/ 1505424 w 1881147"/>
                  <a:gd name="connsiteY85" fmla="*/ 825591 h 1699472"/>
                  <a:gd name="connsiteX86" fmla="*/ 1453036 w 1881147"/>
                  <a:gd name="connsiteY86" fmla="*/ 820828 h 1699472"/>
                  <a:gd name="connsiteX87" fmla="*/ 1510186 w 1881147"/>
                  <a:gd name="connsiteY87" fmla="*/ 787491 h 1699472"/>
                  <a:gd name="connsiteX88" fmla="*/ 1476849 w 1881147"/>
                  <a:gd name="connsiteY88" fmla="*/ 754153 h 1699472"/>
                  <a:gd name="connsiteX89" fmla="*/ 1481611 w 1881147"/>
                  <a:gd name="connsiteY89" fmla="*/ 730341 h 1699472"/>
                  <a:gd name="connsiteX90" fmla="*/ 1572099 w 1881147"/>
                  <a:gd name="connsiteY90" fmla="*/ 768441 h 1699472"/>
                  <a:gd name="connsiteX91" fmla="*/ 1624486 w 1881147"/>
                  <a:gd name="connsiteY91" fmla="*/ 701766 h 1699472"/>
                  <a:gd name="connsiteX92" fmla="*/ 1622283 w 1881147"/>
                  <a:gd name="connsiteY92" fmla="*/ 558891 h 1699472"/>
                  <a:gd name="connsiteX93" fmla="*/ 1639486 w 1881147"/>
                  <a:gd name="connsiteY93" fmla="*/ 410565 h 1699472"/>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8922 h 1697829"/>
                  <a:gd name="connsiteX1" fmla="*/ 1567336 w 1881147"/>
                  <a:gd name="connsiteY1" fmla="*/ 376273 h 1697829"/>
                  <a:gd name="connsiteX2" fmla="*/ 1477087 w 1881147"/>
                  <a:gd name="connsiteY2" fmla="*/ 352460 h 1697829"/>
                  <a:gd name="connsiteX3" fmla="*/ 1423767 w 1881147"/>
                  <a:gd name="connsiteY3" fmla="*/ 275376 h 1697829"/>
                  <a:gd name="connsiteX4" fmla="*/ 1395785 w 1881147"/>
                  <a:gd name="connsiteY4" fmla="*/ 173531 h 1697829"/>
                  <a:gd name="connsiteX5" fmla="*/ 1364769 w 1881147"/>
                  <a:gd name="connsiteY5" fmla="*/ 5469 h 1697829"/>
                  <a:gd name="connsiteX6" fmla="*/ 1282757 w 1881147"/>
                  <a:gd name="connsiteY6" fmla="*/ 42061 h 1697829"/>
                  <a:gd name="connsiteX7" fmla="*/ 1294272 w 1881147"/>
                  <a:gd name="connsiteY7" fmla="*/ 53629 h 1697829"/>
                  <a:gd name="connsiteX8" fmla="*/ 1275927 w 1881147"/>
                  <a:gd name="connsiteY8" fmla="*/ 155903 h 1697829"/>
                  <a:gd name="connsiteX9" fmla="*/ 1214911 w 1881147"/>
                  <a:gd name="connsiteY9" fmla="*/ 161960 h 1697829"/>
                  <a:gd name="connsiteX10" fmla="*/ 1186336 w 1881147"/>
                  <a:gd name="connsiteY10" fmla="*/ 190535 h 1697829"/>
                  <a:gd name="connsiteX11" fmla="*/ 1176811 w 1881147"/>
                  <a:gd name="connsiteY11" fmla="*/ 261973 h 1697829"/>
                  <a:gd name="connsiteX12" fmla="*/ 1114899 w 1881147"/>
                  <a:gd name="connsiteY12" fmla="*/ 304835 h 1697829"/>
                  <a:gd name="connsiteX13" fmla="*/ 1005361 w 1881147"/>
                  <a:gd name="connsiteY13" fmla="*/ 319123 h 1697829"/>
                  <a:gd name="connsiteX14" fmla="*/ 962499 w 1881147"/>
                  <a:gd name="connsiteY14" fmla="*/ 361985 h 1697829"/>
                  <a:gd name="connsiteX15" fmla="*/ 838674 w 1881147"/>
                  <a:gd name="connsiteY15" fmla="*/ 361985 h 1697829"/>
                  <a:gd name="connsiteX16" fmla="*/ 781524 w 1881147"/>
                  <a:gd name="connsiteY16" fmla="*/ 433423 h 1697829"/>
                  <a:gd name="connsiteX17" fmla="*/ 781524 w 1881147"/>
                  <a:gd name="connsiteY17" fmla="*/ 466760 h 1697829"/>
                  <a:gd name="connsiteX18" fmla="*/ 743424 w 1881147"/>
                  <a:gd name="connsiteY18" fmla="*/ 490573 h 1697829"/>
                  <a:gd name="connsiteX19" fmla="*/ 671986 w 1881147"/>
                  <a:gd name="connsiteY19" fmla="*/ 423898 h 1697829"/>
                  <a:gd name="connsiteX20" fmla="*/ 519586 w 1881147"/>
                  <a:gd name="connsiteY20" fmla="*/ 419135 h 1697829"/>
                  <a:gd name="connsiteX21" fmla="*/ 457674 w 1881147"/>
                  <a:gd name="connsiteY21" fmla="*/ 438185 h 1697829"/>
                  <a:gd name="connsiteX22" fmla="*/ 419574 w 1881147"/>
                  <a:gd name="connsiteY22" fmla="*/ 423898 h 1697829"/>
                  <a:gd name="connsiteX23" fmla="*/ 400524 w 1881147"/>
                  <a:gd name="connsiteY23" fmla="*/ 361985 h 1697829"/>
                  <a:gd name="connsiteX24" fmla="*/ 333849 w 1881147"/>
                  <a:gd name="connsiteY24" fmla="*/ 309598 h 1697829"/>
                  <a:gd name="connsiteX25" fmla="*/ 286224 w 1881147"/>
                  <a:gd name="connsiteY25" fmla="*/ 242923 h 1697829"/>
                  <a:gd name="connsiteX26" fmla="*/ 143349 w 1881147"/>
                  <a:gd name="connsiteY26" fmla="*/ 261973 h 1697829"/>
                  <a:gd name="connsiteX27" fmla="*/ 124299 w 1881147"/>
                  <a:gd name="connsiteY27" fmla="*/ 338173 h 1697829"/>
                  <a:gd name="connsiteX28" fmla="*/ 110011 w 1881147"/>
                  <a:gd name="connsiteY28" fmla="*/ 371510 h 1697829"/>
                  <a:gd name="connsiteX29" fmla="*/ 133824 w 1881147"/>
                  <a:gd name="connsiteY29" fmla="*/ 419135 h 1697829"/>
                  <a:gd name="connsiteX30" fmla="*/ 81436 w 1881147"/>
                  <a:gd name="connsiteY30" fmla="*/ 457235 h 1697829"/>
                  <a:gd name="connsiteX31" fmla="*/ 33811 w 1881147"/>
                  <a:gd name="connsiteY31" fmla="*/ 452473 h 1697829"/>
                  <a:gd name="connsiteX32" fmla="*/ 33811 w 1881147"/>
                  <a:gd name="connsiteY32" fmla="*/ 523910 h 1697829"/>
                  <a:gd name="connsiteX33" fmla="*/ 474 w 1881147"/>
                  <a:gd name="connsiteY33" fmla="*/ 628685 h 1697829"/>
                  <a:gd name="connsiteX34" fmla="*/ 62386 w 1881147"/>
                  <a:gd name="connsiteY34" fmla="*/ 704885 h 1697829"/>
                  <a:gd name="connsiteX35" fmla="*/ 111977 w 1881147"/>
                  <a:gd name="connsiteY35" fmla="*/ 685147 h 1697829"/>
                  <a:gd name="connsiteX36" fmla="*/ 112334 w 1881147"/>
                  <a:gd name="connsiteY36" fmla="*/ 755406 h 1697829"/>
                  <a:gd name="connsiteX37" fmla="*/ 167161 w 1881147"/>
                  <a:gd name="connsiteY37" fmla="*/ 785848 h 1697829"/>
                  <a:gd name="connsiteX38" fmla="*/ 236159 w 1881147"/>
                  <a:gd name="connsiteY38" fmla="*/ 796060 h 1697829"/>
                  <a:gd name="connsiteX39" fmla="*/ 271462 w 1881147"/>
                  <a:gd name="connsiteY39" fmla="*/ 852031 h 1697829"/>
                  <a:gd name="connsiteX40" fmla="*/ 270869 w 1881147"/>
                  <a:gd name="connsiteY40" fmla="*/ 897103 h 1697829"/>
                  <a:gd name="connsiteX41" fmla="*/ 295393 w 1881147"/>
                  <a:gd name="connsiteY41" fmla="*/ 936578 h 1697829"/>
                  <a:gd name="connsiteX42" fmla="*/ 341051 w 1881147"/>
                  <a:gd name="connsiteY42" fmla="*/ 975170 h 1697829"/>
                  <a:gd name="connsiteX43" fmla="*/ 426184 w 1881147"/>
                  <a:gd name="connsiteY43" fmla="*/ 1029422 h 1697829"/>
                  <a:gd name="connsiteX44" fmla="*/ 461961 w 1881147"/>
                  <a:gd name="connsiteY44" fmla="*/ 1100515 h 1697829"/>
                  <a:gd name="connsiteX45" fmla="*/ 441064 w 1881147"/>
                  <a:gd name="connsiteY45" fmla="*/ 1170088 h 1697829"/>
                  <a:gd name="connsiteX46" fmla="*/ 519111 w 1881147"/>
                  <a:gd name="connsiteY46" fmla="*/ 1226551 h 1697829"/>
                  <a:gd name="connsiteX47" fmla="*/ 591143 w 1881147"/>
                  <a:gd name="connsiteY47" fmla="*/ 1259545 h 1697829"/>
                  <a:gd name="connsiteX48" fmla="*/ 571974 w 1881147"/>
                  <a:gd name="connsiteY48" fmla="*/ 1319248 h 1697829"/>
                  <a:gd name="connsiteX49" fmla="*/ 662461 w 1881147"/>
                  <a:gd name="connsiteY49" fmla="*/ 1471648 h 1697829"/>
                  <a:gd name="connsiteX50" fmla="*/ 755271 w 1881147"/>
                  <a:gd name="connsiteY50" fmla="*/ 1544802 h 1697829"/>
                  <a:gd name="connsiteX51" fmla="*/ 805336 w 1881147"/>
                  <a:gd name="connsiteY51" fmla="*/ 1495460 h 1697829"/>
                  <a:gd name="connsiteX52" fmla="*/ 869926 w 1881147"/>
                  <a:gd name="connsiteY52" fmla="*/ 1522857 h 1697829"/>
                  <a:gd name="connsiteX53" fmla="*/ 924399 w 1881147"/>
                  <a:gd name="connsiteY53" fmla="*/ 1490698 h 1697829"/>
                  <a:gd name="connsiteX54" fmla="*/ 941246 w 1881147"/>
                  <a:gd name="connsiteY54" fmla="*/ 1448522 h 1697829"/>
                  <a:gd name="connsiteX55" fmla="*/ 1005123 w 1881147"/>
                  <a:gd name="connsiteY55" fmla="*/ 1534934 h 1697829"/>
                  <a:gd name="connsiteX56" fmla="*/ 1050190 w 1881147"/>
                  <a:gd name="connsiteY56" fmla="*/ 1606028 h 1697829"/>
                  <a:gd name="connsiteX57" fmla="*/ 1120136 w 1881147"/>
                  <a:gd name="connsiteY57" fmla="*/ 1697547 h 1697829"/>
                  <a:gd name="connsiteX58" fmla="*/ 1151034 w 1881147"/>
                  <a:gd name="connsiteY58" fmla="*/ 1634456 h 1697829"/>
                  <a:gd name="connsiteX59" fmla="*/ 1181693 w 1881147"/>
                  <a:gd name="connsiteY59" fmla="*/ 1627976 h 1697829"/>
                  <a:gd name="connsiteX60" fmla="*/ 1224792 w 1881147"/>
                  <a:gd name="connsiteY60" fmla="*/ 1657239 h 1697829"/>
                  <a:gd name="connsiteX61" fmla="*/ 1258367 w 1881147"/>
                  <a:gd name="connsiteY61" fmla="*/ 1616585 h 1697829"/>
                  <a:gd name="connsiteX62" fmla="*/ 1277188 w 1881147"/>
                  <a:gd name="connsiteY62" fmla="*/ 1621202 h 1697829"/>
                  <a:gd name="connsiteX63" fmla="*/ 1311230 w 1881147"/>
                  <a:gd name="connsiteY63" fmla="*/ 1687679 h 1697829"/>
                  <a:gd name="connsiteX64" fmla="*/ 1367786 w 1881147"/>
                  <a:gd name="connsiteY64" fmla="*/ 1664210 h 1697829"/>
                  <a:gd name="connsiteX65" fmla="*/ 1419818 w 1881147"/>
                  <a:gd name="connsiteY65" fmla="*/ 1608089 h 1697829"/>
                  <a:gd name="connsiteX66" fmla="*/ 1470595 w 1881147"/>
                  <a:gd name="connsiteY66" fmla="*/ 1591546 h 1697829"/>
                  <a:gd name="connsiteX67" fmla="*/ 1488274 w 1881147"/>
                  <a:gd name="connsiteY67" fmla="*/ 1647368 h 1697829"/>
                  <a:gd name="connsiteX68" fmla="*/ 1558169 w 1881147"/>
                  <a:gd name="connsiteY68" fmla="*/ 1621690 h 1697829"/>
                  <a:gd name="connsiteX69" fmla="*/ 1588947 w 1881147"/>
                  <a:gd name="connsiteY69" fmla="*/ 1534934 h 1697829"/>
                  <a:gd name="connsiteX70" fmla="*/ 1670383 w 1881147"/>
                  <a:gd name="connsiteY70" fmla="*/ 1444792 h 1697829"/>
                  <a:gd name="connsiteX71" fmla="*/ 1714974 w 1881147"/>
                  <a:gd name="connsiteY71" fmla="*/ 1413662 h 1697829"/>
                  <a:gd name="connsiteX72" fmla="*/ 1743343 w 1881147"/>
                  <a:gd name="connsiteY72" fmla="*/ 1416957 h 1697829"/>
                  <a:gd name="connsiteX73" fmla="*/ 1820935 w 1881147"/>
                  <a:gd name="connsiteY73" fmla="*/ 1406349 h 1697829"/>
                  <a:gd name="connsiteX74" fmla="*/ 1816054 w 1881147"/>
                  <a:gd name="connsiteY74" fmla="*/ 1459913 h 1697829"/>
                  <a:gd name="connsiteX75" fmla="*/ 1874221 w 1881147"/>
                  <a:gd name="connsiteY75" fmla="*/ 1483234 h 1697829"/>
                  <a:gd name="connsiteX76" fmla="*/ 1875829 w 1881147"/>
                  <a:gd name="connsiteY76" fmla="*/ 1460600 h 1697829"/>
                  <a:gd name="connsiteX77" fmla="*/ 1875051 w 1881147"/>
                  <a:gd name="connsiteY77" fmla="*/ 1399866 h 1697829"/>
                  <a:gd name="connsiteX78" fmla="*/ 1853086 w 1881147"/>
                  <a:gd name="connsiteY78" fmla="*/ 1309723 h 1697829"/>
                  <a:gd name="connsiteX79" fmla="*/ 1853086 w 1881147"/>
                  <a:gd name="connsiteY79" fmla="*/ 1252573 h 1697829"/>
                  <a:gd name="connsiteX80" fmla="*/ 1810224 w 1881147"/>
                  <a:gd name="connsiteY80" fmla="*/ 1243048 h 1697829"/>
                  <a:gd name="connsiteX81" fmla="*/ 1734024 w 1881147"/>
                  <a:gd name="connsiteY81" fmla="*/ 1162085 h 1697829"/>
                  <a:gd name="connsiteX82" fmla="*/ 1695924 w 1881147"/>
                  <a:gd name="connsiteY82" fmla="*/ 981110 h 1697829"/>
                  <a:gd name="connsiteX83" fmla="*/ 1643536 w 1881147"/>
                  <a:gd name="connsiteY83" fmla="*/ 947773 h 1697829"/>
                  <a:gd name="connsiteX84" fmla="*/ 1605436 w 1881147"/>
                  <a:gd name="connsiteY84" fmla="*/ 890623 h 1697829"/>
                  <a:gd name="connsiteX85" fmla="*/ 1557811 w 1881147"/>
                  <a:gd name="connsiteY85" fmla="*/ 842998 h 1697829"/>
                  <a:gd name="connsiteX86" fmla="*/ 1505424 w 1881147"/>
                  <a:gd name="connsiteY86" fmla="*/ 823948 h 1697829"/>
                  <a:gd name="connsiteX87" fmla="*/ 1453036 w 1881147"/>
                  <a:gd name="connsiteY87" fmla="*/ 819185 h 1697829"/>
                  <a:gd name="connsiteX88" fmla="*/ 1510186 w 1881147"/>
                  <a:gd name="connsiteY88" fmla="*/ 785848 h 1697829"/>
                  <a:gd name="connsiteX89" fmla="*/ 1476849 w 1881147"/>
                  <a:gd name="connsiteY89" fmla="*/ 752510 h 1697829"/>
                  <a:gd name="connsiteX90" fmla="*/ 1481611 w 1881147"/>
                  <a:gd name="connsiteY90" fmla="*/ 728698 h 1697829"/>
                  <a:gd name="connsiteX91" fmla="*/ 1572099 w 1881147"/>
                  <a:gd name="connsiteY91" fmla="*/ 766798 h 1697829"/>
                  <a:gd name="connsiteX92" fmla="*/ 1624486 w 1881147"/>
                  <a:gd name="connsiteY92" fmla="*/ 700123 h 1697829"/>
                  <a:gd name="connsiteX93" fmla="*/ 1622283 w 1881147"/>
                  <a:gd name="connsiteY93" fmla="*/ 557248 h 1697829"/>
                  <a:gd name="connsiteX94" fmla="*/ 1639486 w 1881147"/>
                  <a:gd name="connsiteY94" fmla="*/ 408922 h 1697829"/>
                  <a:gd name="connsiteX0" fmla="*/ 1639486 w 1881147"/>
                  <a:gd name="connsiteY0" fmla="*/ 409649 h 1698556"/>
                  <a:gd name="connsiteX1" fmla="*/ 1567336 w 1881147"/>
                  <a:gd name="connsiteY1" fmla="*/ 377000 h 1698556"/>
                  <a:gd name="connsiteX2" fmla="*/ 1477087 w 1881147"/>
                  <a:gd name="connsiteY2" fmla="*/ 353187 h 1698556"/>
                  <a:gd name="connsiteX3" fmla="*/ 1423767 w 1881147"/>
                  <a:gd name="connsiteY3" fmla="*/ 276103 h 1698556"/>
                  <a:gd name="connsiteX4" fmla="*/ 1395785 w 1881147"/>
                  <a:gd name="connsiteY4" fmla="*/ 174258 h 1698556"/>
                  <a:gd name="connsiteX5" fmla="*/ 1364769 w 1881147"/>
                  <a:gd name="connsiteY5" fmla="*/ 6196 h 1698556"/>
                  <a:gd name="connsiteX6" fmla="*/ 1282757 w 1881147"/>
                  <a:gd name="connsiteY6" fmla="*/ 42788 h 1698556"/>
                  <a:gd name="connsiteX7" fmla="*/ 1291832 w 1881147"/>
                  <a:gd name="connsiteY7" fmla="*/ 105417 h 1698556"/>
                  <a:gd name="connsiteX8" fmla="*/ 1275927 w 1881147"/>
                  <a:gd name="connsiteY8" fmla="*/ 156630 h 1698556"/>
                  <a:gd name="connsiteX9" fmla="*/ 1214911 w 1881147"/>
                  <a:gd name="connsiteY9" fmla="*/ 162687 h 1698556"/>
                  <a:gd name="connsiteX10" fmla="*/ 1186336 w 1881147"/>
                  <a:gd name="connsiteY10" fmla="*/ 191262 h 1698556"/>
                  <a:gd name="connsiteX11" fmla="*/ 1176811 w 1881147"/>
                  <a:gd name="connsiteY11" fmla="*/ 262700 h 1698556"/>
                  <a:gd name="connsiteX12" fmla="*/ 1114899 w 1881147"/>
                  <a:gd name="connsiteY12" fmla="*/ 305562 h 1698556"/>
                  <a:gd name="connsiteX13" fmla="*/ 1005361 w 1881147"/>
                  <a:gd name="connsiteY13" fmla="*/ 319850 h 1698556"/>
                  <a:gd name="connsiteX14" fmla="*/ 962499 w 1881147"/>
                  <a:gd name="connsiteY14" fmla="*/ 362712 h 1698556"/>
                  <a:gd name="connsiteX15" fmla="*/ 838674 w 1881147"/>
                  <a:gd name="connsiteY15" fmla="*/ 362712 h 1698556"/>
                  <a:gd name="connsiteX16" fmla="*/ 781524 w 1881147"/>
                  <a:gd name="connsiteY16" fmla="*/ 434150 h 1698556"/>
                  <a:gd name="connsiteX17" fmla="*/ 781524 w 1881147"/>
                  <a:gd name="connsiteY17" fmla="*/ 467487 h 1698556"/>
                  <a:gd name="connsiteX18" fmla="*/ 743424 w 1881147"/>
                  <a:gd name="connsiteY18" fmla="*/ 491300 h 1698556"/>
                  <a:gd name="connsiteX19" fmla="*/ 671986 w 1881147"/>
                  <a:gd name="connsiteY19" fmla="*/ 424625 h 1698556"/>
                  <a:gd name="connsiteX20" fmla="*/ 519586 w 1881147"/>
                  <a:gd name="connsiteY20" fmla="*/ 419862 h 1698556"/>
                  <a:gd name="connsiteX21" fmla="*/ 457674 w 1881147"/>
                  <a:gd name="connsiteY21" fmla="*/ 438912 h 1698556"/>
                  <a:gd name="connsiteX22" fmla="*/ 419574 w 1881147"/>
                  <a:gd name="connsiteY22" fmla="*/ 424625 h 1698556"/>
                  <a:gd name="connsiteX23" fmla="*/ 400524 w 1881147"/>
                  <a:gd name="connsiteY23" fmla="*/ 362712 h 1698556"/>
                  <a:gd name="connsiteX24" fmla="*/ 333849 w 1881147"/>
                  <a:gd name="connsiteY24" fmla="*/ 310325 h 1698556"/>
                  <a:gd name="connsiteX25" fmla="*/ 286224 w 1881147"/>
                  <a:gd name="connsiteY25" fmla="*/ 243650 h 1698556"/>
                  <a:gd name="connsiteX26" fmla="*/ 143349 w 1881147"/>
                  <a:gd name="connsiteY26" fmla="*/ 262700 h 1698556"/>
                  <a:gd name="connsiteX27" fmla="*/ 124299 w 1881147"/>
                  <a:gd name="connsiteY27" fmla="*/ 338900 h 1698556"/>
                  <a:gd name="connsiteX28" fmla="*/ 110011 w 1881147"/>
                  <a:gd name="connsiteY28" fmla="*/ 372237 h 1698556"/>
                  <a:gd name="connsiteX29" fmla="*/ 133824 w 1881147"/>
                  <a:gd name="connsiteY29" fmla="*/ 419862 h 1698556"/>
                  <a:gd name="connsiteX30" fmla="*/ 81436 w 1881147"/>
                  <a:gd name="connsiteY30" fmla="*/ 457962 h 1698556"/>
                  <a:gd name="connsiteX31" fmla="*/ 33811 w 1881147"/>
                  <a:gd name="connsiteY31" fmla="*/ 453200 h 1698556"/>
                  <a:gd name="connsiteX32" fmla="*/ 33811 w 1881147"/>
                  <a:gd name="connsiteY32" fmla="*/ 524637 h 1698556"/>
                  <a:gd name="connsiteX33" fmla="*/ 474 w 1881147"/>
                  <a:gd name="connsiteY33" fmla="*/ 629412 h 1698556"/>
                  <a:gd name="connsiteX34" fmla="*/ 62386 w 1881147"/>
                  <a:gd name="connsiteY34" fmla="*/ 705612 h 1698556"/>
                  <a:gd name="connsiteX35" fmla="*/ 111977 w 1881147"/>
                  <a:gd name="connsiteY35" fmla="*/ 685874 h 1698556"/>
                  <a:gd name="connsiteX36" fmla="*/ 112334 w 1881147"/>
                  <a:gd name="connsiteY36" fmla="*/ 756133 h 1698556"/>
                  <a:gd name="connsiteX37" fmla="*/ 167161 w 1881147"/>
                  <a:gd name="connsiteY37" fmla="*/ 786575 h 1698556"/>
                  <a:gd name="connsiteX38" fmla="*/ 236159 w 1881147"/>
                  <a:gd name="connsiteY38" fmla="*/ 796787 h 1698556"/>
                  <a:gd name="connsiteX39" fmla="*/ 271462 w 1881147"/>
                  <a:gd name="connsiteY39" fmla="*/ 852758 h 1698556"/>
                  <a:gd name="connsiteX40" fmla="*/ 270869 w 1881147"/>
                  <a:gd name="connsiteY40" fmla="*/ 897830 h 1698556"/>
                  <a:gd name="connsiteX41" fmla="*/ 295393 w 1881147"/>
                  <a:gd name="connsiteY41" fmla="*/ 937305 h 1698556"/>
                  <a:gd name="connsiteX42" fmla="*/ 341051 w 1881147"/>
                  <a:gd name="connsiteY42" fmla="*/ 975897 h 1698556"/>
                  <a:gd name="connsiteX43" fmla="*/ 426184 w 1881147"/>
                  <a:gd name="connsiteY43" fmla="*/ 1030149 h 1698556"/>
                  <a:gd name="connsiteX44" fmla="*/ 461961 w 1881147"/>
                  <a:gd name="connsiteY44" fmla="*/ 1101242 h 1698556"/>
                  <a:gd name="connsiteX45" fmla="*/ 441064 w 1881147"/>
                  <a:gd name="connsiteY45" fmla="*/ 1170815 h 1698556"/>
                  <a:gd name="connsiteX46" fmla="*/ 519111 w 1881147"/>
                  <a:gd name="connsiteY46" fmla="*/ 1227278 h 1698556"/>
                  <a:gd name="connsiteX47" fmla="*/ 591143 w 1881147"/>
                  <a:gd name="connsiteY47" fmla="*/ 1260272 h 1698556"/>
                  <a:gd name="connsiteX48" fmla="*/ 571974 w 1881147"/>
                  <a:gd name="connsiteY48" fmla="*/ 1319975 h 1698556"/>
                  <a:gd name="connsiteX49" fmla="*/ 662461 w 1881147"/>
                  <a:gd name="connsiteY49" fmla="*/ 1472375 h 1698556"/>
                  <a:gd name="connsiteX50" fmla="*/ 755271 w 1881147"/>
                  <a:gd name="connsiteY50" fmla="*/ 1545529 h 1698556"/>
                  <a:gd name="connsiteX51" fmla="*/ 805336 w 1881147"/>
                  <a:gd name="connsiteY51" fmla="*/ 1496187 h 1698556"/>
                  <a:gd name="connsiteX52" fmla="*/ 869926 w 1881147"/>
                  <a:gd name="connsiteY52" fmla="*/ 1523584 h 1698556"/>
                  <a:gd name="connsiteX53" fmla="*/ 924399 w 1881147"/>
                  <a:gd name="connsiteY53" fmla="*/ 1491425 h 1698556"/>
                  <a:gd name="connsiteX54" fmla="*/ 941246 w 1881147"/>
                  <a:gd name="connsiteY54" fmla="*/ 1449249 h 1698556"/>
                  <a:gd name="connsiteX55" fmla="*/ 1005123 w 1881147"/>
                  <a:gd name="connsiteY55" fmla="*/ 1535661 h 1698556"/>
                  <a:gd name="connsiteX56" fmla="*/ 1050190 w 1881147"/>
                  <a:gd name="connsiteY56" fmla="*/ 1606755 h 1698556"/>
                  <a:gd name="connsiteX57" fmla="*/ 1120136 w 1881147"/>
                  <a:gd name="connsiteY57" fmla="*/ 1698274 h 1698556"/>
                  <a:gd name="connsiteX58" fmla="*/ 1151034 w 1881147"/>
                  <a:gd name="connsiteY58" fmla="*/ 1635183 h 1698556"/>
                  <a:gd name="connsiteX59" fmla="*/ 1181693 w 1881147"/>
                  <a:gd name="connsiteY59" fmla="*/ 1628703 h 1698556"/>
                  <a:gd name="connsiteX60" fmla="*/ 1224792 w 1881147"/>
                  <a:gd name="connsiteY60" fmla="*/ 1657966 h 1698556"/>
                  <a:gd name="connsiteX61" fmla="*/ 1258367 w 1881147"/>
                  <a:gd name="connsiteY61" fmla="*/ 1617312 h 1698556"/>
                  <a:gd name="connsiteX62" fmla="*/ 1277188 w 1881147"/>
                  <a:gd name="connsiteY62" fmla="*/ 1621929 h 1698556"/>
                  <a:gd name="connsiteX63" fmla="*/ 1311230 w 1881147"/>
                  <a:gd name="connsiteY63" fmla="*/ 1688406 h 1698556"/>
                  <a:gd name="connsiteX64" fmla="*/ 1367786 w 1881147"/>
                  <a:gd name="connsiteY64" fmla="*/ 1664937 h 1698556"/>
                  <a:gd name="connsiteX65" fmla="*/ 1419818 w 1881147"/>
                  <a:gd name="connsiteY65" fmla="*/ 1608816 h 1698556"/>
                  <a:gd name="connsiteX66" fmla="*/ 1470595 w 1881147"/>
                  <a:gd name="connsiteY66" fmla="*/ 1592273 h 1698556"/>
                  <a:gd name="connsiteX67" fmla="*/ 1488274 w 1881147"/>
                  <a:gd name="connsiteY67" fmla="*/ 1648095 h 1698556"/>
                  <a:gd name="connsiteX68" fmla="*/ 1558169 w 1881147"/>
                  <a:gd name="connsiteY68" fmla="*/ 1622417 h 1698556"/>
                  <a:gd name="connsiteX69" fmla="*/ 1588947 w 1881147"/>
                  <a:gd name="connsiteY69" fmla="*/ 1535661 h 1698556"/>
                  <a:gd name="connsiteX70" fmla="*/ 1670383 w 1881147"/>
                  <a:gd name="connsiteY70" fmla="*/ 1445519 h 1698556"/>
                  <a:gd name="connsiteX71" fmla="*/ 1714974 w 1881147"/>
                  <a:gd name="connsiteY71" fmla="*/ 1414389 h 1698556"/>
                  <a:gd name="connsiteX72" fmla="*/ 1743343 w 1881147"/>
                  <a:gd name="connsiteY72" fmla="*/ 1417684 h 1698556"/>
                  <a:gd name="connsiteX73" fmla="*/ 1820935 w 1881147"/>
                  <a:gd name="connsiteY73" fmla="*/ 1407076 h 1698556"/>
                  <a:gd name="connsiteX74" fmla="*/ 1816054 w 1881147"/>
                  <a:gd name="connsiteY74" fmla="*/ 1460640 h 1698556"/>
                  <a:gd name="connsiteX75" fmla="*/ 1874221 w 1881147"/>
                  <a:gd name="connsiteY75" fmla="*/ 1483961 h 1698556"/>
                  <a:gd name="connsiteX76" fmla="*/ 1875829 w 1881147"/>
                  <a:gd name="connsiteY76" fmla="*/ 1461327 h 1698556"/>
                  <a:gd name="connsiteX77" fmla="*/ 1875051 w 1881147"/>
                  <a:gd name="connsiteY77" fmla="*/ 1400593 h 1698556"/>
                  <a:gd name="connsiteX78" fmla="*/ 1853086 w 1881147"/>
                  <a:gd name="connsiteY78" fmla="*/ 1310450 h 1698556"/>
                  <a:gd name="connsiteX79" fmla="*/ 1853086 w 1881147"/>
                  <a:gd name="connsiteY79" fmla="*/ 1253300 h 1698556"/>
                  <a:gd name="connsiteX80" fmla="*/ 1810224 w 1881147"/>
                  <a:gd name="connsiteY80" fmla="*/ 1243775 h 1698556"/>
                  <a:gd name="connsiteX81" fmla="*/ 1734024 w 1881147"/>
                  <a:gd name="connsiteY81" fmla="*/ 1162812 h 1698556"/>
                  <a:gd name="connsiteX82" fmla="*/ 1695924 w 1881147"/>
                  <a:gd name="connsiteY82" fmla="*/ 981837 h 1698556"/>
                  <a:gd name="connsiteX83" fmla="*/ 1643536 w 1881147"/>
                  <a:gd name="connsiteY83" fmla="*/ 948500 h 1698556"/>
                  <a:gd name="connsiteX84" fmla="*/ 1605436 w 1881147"/>
                  <a:gd name="connsiteY84" fmla="*/ 891350 h 1698556"/>
                  <a:gd name="connsiteX85" fmla="*/ 1557811 w 1881147"/>
                  <a:gd name="connsiteY85" fmla="*/ 843725 h 1698556"/>
                  <a:gd name="connsiteX86" fmla="*/ 1505424 w 1881147"/>
                  <a:gd name="connsiteY86" fmla="*/ 824675 h 1698556"/>
                  <a:gd name="connsiteX87" fmla="*/ 1453036 w 1881147"/>
                  <a:gd name="connsiteY87" fmla="*/ 819912 h 1698556"/>
                  <a:gd name="connsiteX88" fmla="*/ 1510186 w 1881147"/>
                  <a:gd name="connsiteY88" fmla="*/ 786575 h 1698556"/>
                  <a:gd name="connsiteX89" fmla="*/ 1476849 w 1881147"/>
                  <a:gd name="connsiteY89" fmla="*/ 753237 h 1698556"/>
                  <a:gd name="connsiteX90" fmla="*/ 1481611 w 1881147"/>
                  <a:gd name="connsiteY90" fmla="*/ 729425 h 1698556"/>
                  <a:gd name="connsiteX91" fmla="*/ 1572099 w 1881147"/>
                  <a:gd name="connsiteY91" fmla="*/ 767525 h 1698556"/>
                  <a:gd name="connsiteX92" fmla="*/ 1624486 w 1881147"/>
                  <a:gd name="connsiteY92" fmla="*/ 700850 h 1698556"/>
                  <a:gd name="connsiteX93" fmla="*/ 1622283 w 1881147"/>
                  <a:gd name="connsiteY93" fmla="*/ 557975 h 1698556"/>
                  <a:gd name="connsiteX94" fmla="*/ 1639486 w 1881147"/>
                  <a:gd name="connsiteY94" fmla="*/ 409649 h 1698556"/>
                  <a:gd name="connsiteX0" fmla="*/ 1639486 w 1881147"/>
                  <a:gd name="connsiteY0" fmla="*/ 411844 h 1700751"/>
                  <a:gd name="connsiteX1" fmla="*/ 1567336 w 1881147"/>
                  <a:gd name="connsiteY1" fmla="*/ 379195 h 1700751"/>
                  <a:gd name="connsiteX2" fmla="*/ 1477087 w 1881147"/>
                  <a:gd name="connsiteY2" fmla="*/ 355382 h 1700751"/>
                  <a:gd name="connsiteX3" fmla="*/ 1423767 w 1881147"/>
                  <a:gd name="connsiteY3" fmla="*/ 278298 h 1700751"/>
                  <a:gd name="connsiteX4" fmla="*/ 1395785 w 1881147"/>
                  <a:gd name="connsiteY4" fmla="*/ 176453 h 1700751"/>
                  <a:gd name="connsiteX5" fmla="*/ 1364769 w 1881147"/>
                  <a:gd name="connsiteY5" fmla="*/ 8391 h 1700751"/>
                  <a:gd name="connsiteX6" fmla="*/ 1282757 w 1881147"/>
                  <a:gd name="connsiteY6" fmla="*/ 44983 h 1700751"/>
                  <a:gd name="connsiteX7" fmla="*/ 1291832 w 1881147"/>
                  <a:gd name="connsiteY7" fmla="*/ 107612 h 1700751"/>
                  <a:gd name="connsiteX8" fmla="*/ 1275927 w 1881147"/>
                  <a:gd name="connsiteY8" fmla="*/ 158825 h 1700751"/>
                  <a:gd name="connsiteX9" fmla="*/ 1214911 w 1881147"/>
                  <a:gd name="connsiteY9" fmla="*/ 164882 h 1700751"/>
                  <a:gd name="connsiteX10" fmla="*/ 1186336 w 1881147"/>
                  <a:gd name="connsiteY10" fmla="*/ 193457 h 1700751"/>
                  <a:gd name="connsiteX11" fmla="*/ 1176811 w 1881147"/>
                  <a:gd name="connsiteY11" fmla="*/ 264895 h 1700751"/>
                  <a:gd name="connsiteX12" fmla="*/ 1114899 w 1881147"/>
                  <a:gd name="connsiteY12" fmla="*/ 307757 h 1700751"/>
                  <a:gd name="connsiteX13" fmla="*/ 1005361 w 1881147"/>
                  <a:gd name="connsiteY13" fmla="*/ 322045 h 1700751"/>
                  <a:gd name="connsiteX14" fmla="*/ 962499 w 1881147"/>
                  <a:gd name="connsiteY14" fmla="*/ 364907 h 1700751"/>
                  <a:gd name="connsiteX15" fmla="*/ 838674 w 1881147"/>
                  <a:gd name="connsiteY15" fmla="*/ 364907 h 1700751"/>
                  <a:gd name="connsiteX16" fmla="*/ 781524 w 1881147"/>
                  <a:gd name="connsiteY16" fmla="*/ 436345 h 1700751"/>
                  <a:gd name="connsiteX17" fmla="*/ 781524 w 1881147"/>
                  <a:gd name="connsiteY17" fmla="*/ 469682 h 1700751"/>
                  <a:gd name="connsiteX18" fmla="*/ 743424 w 1881147"/>
                  <a:gd name="connsiteY18" fmla="*/ 493495 h 1700751"/>
                  <a:gd name="connsiteX19" fmla="*/ 671986 w 1881147"/>
                  <a:gd name="connsiteY19" fmla="*/ 426820 h 1700751"/>
                  <a:gd name="connsiteX20" fmla="*/ 519586 w 1881147"/>
                  <a:gd name="connsiteY20" fmla="*/ 422057 h 1700751"/>
                  <a:gd name="connsiteX21" fmla="*/ 457674 w 1881147"/>
                  <a:gd name="connsiteY21" fmla="*/ 441107 h 1700751"/>
                  <a:gd name="connsiteX22" fmla="*/ 419574 w 1881147"/>
                  <a:gd name="connsiteY22" fmla="*/ 426820 h 1700751"/>
                  <a:gd name="connsiteX23" fmla="*/ 400524 w 1881147"/>
                  <a:gd name="connsiteY23" fmla="*/ 364907 h 1700751"/>
                  <a:gd name="connsiteX24" fmla="*/ 333849 w 1881147"/>
                  <a:gd name="connsiteY24" fmla="*/ 312520 h 1700751"/>
                  <a:gd name="connsiteX25" fmla="*/ 286224 w 1881147"/>
                  <a:gd name="connsiteY25" fmla="*/ 245845 h 1700751"/>
                  <a:gd name="connsiteX26" fmla="*/ 143349 w 1881147"/>
                  <a:gd name="connsiteY26" fmla="*/ 264895 h 1700751"/>
                  <a:gd name="connsiteX27" fmla="*/ 124299 w 1881147"/>
                  <a:gd name="connsiteY27" fmla="*/ 341095 h 1700751"/>
                  <a:gd name="connsiteX28" fmla="*/ 110011 w 1881147"/>
                  <a:gd name="connsiteY28" fmla="*/ 374432 h 1700751"/>
                  <a:gd name="connsiteX29" fmla="*/ 133824 w 1881147"/>
                  <a:gd name="connsiteY29" fmla="*/ 422057 h 1700751"/>
                  <a:gd name="connsiteX30" fmla="*/ 81436 w 1881147"/>
                  <a:gd name="connsiteY30" fmla="*/ 460157 h 1700751"/>
                  <a:gd name="connsiteX31" fmla="*/ 33811 w 1881147"/>
                  <a:gd name="connsiteY31" fmla="*/ 455395 h 1700751"/>
                  <a:gd name="connsiteX32" fmla="*/ 33811 w 1881147"/>
                  <a:gd name="connsiteY32" fmla="*/ 526832 h 1700751"/>
                  <a:gd name="connsiteX33" fmla="*/ 474 w 1881147"/>
                  <a:gd name="connsiteY33" fmla="*/ 631607 h 1700751"/>
                  <a:gd name="connsiteX34" fmla="*/ 62386 w 1881147"/>
                  <a:gd name="connsiteY34" fmla="*/ 707807 h 1700751"/>
                  <a:gd name="connsiteX35" fmla="*/ 111977 w 1881147"/>
                  <a:gd name="connsiteY35" fmla="*/ 688069 h 1700751"/>
                  <a:gd name="connsiteX36" fmla="*/ 112334 w 1881147"/>
                  <a:gd name="connsiteY36" fmla="*/ 758328 h 1700751"/>
                  <a:gd name="connsiteX37" fmla="*/ 167161 w 1881147"/>
                  <a:gd name="connsiteY37" fmla="*/ 788770 h 1700751"/>
                  <a:gd name="connsiteX38" fmla="*/ 236159 w 1881147"/>
                  <a:gd name="connsiteY38" fmla="*/ 798982 h 1700751"/>
                  <a:gd name="connsiteX39" fmla="*/ 271462 w 1881147"/>
                  <a:gd name="connsiteY39" fmla="*/ 854953 h 1700751"/>
                  <a:gd name="connsiteX40" fmla="*/ 270869 w 1881147"/>
                  <a:gd name="connsiteY40" fmla="*/ 900025 h 1700751"/>
                  <a:gd name="connsiteX41" fmla="*/ 295393 w 1881147"/>
                  <a:gd name="connsiteY41" fmla="*/ 939500 h 1700751"/>
                  <a:gd name="connsiteX42" fmla="*/ 341051 w 1881147"/>
                  <a:gd name="connsiteY42" fmla="*/ 978092 h 1700751"/>
                  <a:gd name="connsiteX43" fmla="*/ 426184 w 1881147"/>
                  <a:gd name="connsiteY43" fmla="*/ 1032344 h 1700751"/>
                  <a:gd name="connsiteX44" fmla="*/ 461961 w 1881147"/>
                  <a:gd name="connsiteY44" fmla="*/ 1103437 h 1700751"/>
                  <a:gd name="connsiteX45" fmla="*/ 441064 w 1881147"/>
                  <a:gd name="connsiteY45" fmla="*/ 1173010 h 1700751"/>
                  <a:gd name="connsiteX46" fmla="*/ 519111 w 1881147"/>
                  <a:gd name="connsiteY46" fmla="*/ 1229473 h 1700751"/>
                  <a:gd name="connsiteX47" fmla="*/ 591143 w 1881147"/>
                  <a:gd name="connsiteY47" fmla="*/ 1262467 h 1700751"/>
                  <a:gd name="connsiteX48" fmla="*/ 571974 w 1881147"/>
                  <a:gd name="connsiteY48" fmla="*/ 1322170 h 1700751"/>
                  <a:gd name="connsiteX49" fmla="*/ 662461 w 1881147"/>
                  <a:gd name="connsiteY49" fmla="*/ 1474570 h 1700751"/>
                  <a:gd name="connsiteX50" fmla="*/ 755271 w 1881147"/>
                  <a:gd name="connsiteY50" fmla="*/ 1547724 h 1700751"/>
                  <a:gd name="connsiteX51" fmla="*/ 805336 w 1881147"/>
                  <a:gd name="connsiteY51" fmla="*/ 1498382 h 1700751"/>
                  <a:gd name="connsiteX52" fmla="*/ 869926 w 1881147"/>
                  <a:gd name="connsiteY52" fmla="*/ 1525779 h 1700751"/>
                  <a:gd name="connsiteX53" fmla="*/ 924399 w 1881147"/>
                  <a:gd name="connsiteY53" fmla="*/ 1493620 h 1700751"/>
                  <a:gd name="connsiteX54" fmla="*/ 941246 w 1881147"/>
                  <a:gd name="connsiteY54" fmla="*/ 1451444 h 1700751"/>
                  <a:gd name="connsiteX55" fmla="*/ 1005123 w 1881147"/>
                  <a:gd name="connsiteY55" fmla="*/ 1537856 h 1700751"/>
                  <a:gd name="connsiteX56" fmla="*/ 1050190 w 1881147"/>
                  <a:gd name="connsiteY56" fmla="*/ 1608950 h 1700751"/>
                  <a:gd name="connsiteX57" fmla="*/ 1120136 w 1881147"/>
                  <a:gd name="connsiteY57" fmla="*/ 1700469 h 1700751"/>
                  <a:gd name="connsiteX58" fmla="*/ 1151034 w 1881147"/>
                  <a:gd name="connsiteY58" fmla="*/ 1637378 h 1700751"/>
                  <a:gd name="connsiteX59" fmla="*/ 1181693 w 1881147"/>
                  <a:gd name="connsiteY59" fmla="*/ 1630898 h 1700751"/>
                  <a:gd name="connsiteX60" fmla="*/ 1224792 w 1881147"/>
                  <a:gd name="connsiteY60" fmla="*/ 1660161 h 1700751"/>
                  <a:gd name="connsiteX61" fmla="*/ 1258367 w 1881147"/>
                  <a:gd name="connsiteY61" fmla="*/ 1619507 h 1700751"/>
                  <a:gd name="connsiteX62" fmla="*/ 1277188 w 1881147"/>
                  <a:gd name="connsiteY62" fmla="*/ 1624124 h 1700751"/>
                  <a:gd name="connsiteX63" fmla="*/ 1311230 w 1881147"/>
                  <a:gd name="connsiteY63" fmla="*/ 1690601 h 1700751"/>
                  <a:gd name="connsiteX64" fmla="*/ 1367786 w 1881147"/>
                  <a:gd name="connsiteY64" fmla="*/ 1667132 h 1700751"/>
                  <a:gd name="connsiteX65" fmla="*/ 1419818 w 1881147"/>
                  <a:gd name="connsiteY65" fmla="*/ 1611011 h 1700751"/>
                  <a:gd name="connsiteX66" fmla="*/ 1470595 w 1881147"/>
                  <a:gd name="connsiteY66" fmla="*/ 1594468 h 1700751"/>
                  <a:gd name="connsiteX67" fmla="*/ 1488274 w 1881147"/>
                  <a:gd name="connsiteY67" fmla="*/ 1650290 h 1700751"/>
                  <a:gd name="connsiteX68" fmla="*/ 1558169 w 1881147"/>
                  <a:gd name="connsiteY68" fmla="*/ 1624612 h 1700751"/>
                  <a:gd name="connsiteX69" fmla="*/ 1588947 w 1881147"/>
                  <a:gd name="connsiteY69" fmla="*/ 1537856 h 1700751"/>
                  <a:gd name="connsiteX70" fmla="*/ 1670383 w 1881147"/>
                  <a:gd name="connsiteY70" fmla="*/ 1447714 h 1700751"/>
                  <a:gd name="connsiteX71" fmla="*/ 1714974 w 1881147"/>
                  <a:gd name="connsiteY71" fmla="*/ 1416584 h 1700751"/>
                  <a:gd name="connsiteX72" fmla="*/ 1743343 w 1881147"/>
                  <a:gd name="connsiteY72" fmla="*/ 1419879 h 1700751"/>
                  <a:gd name="connsiteX73" fmla="*/ 1820935 w 1881147"/>
                  <a:gd name="connsiteY73" fmla="*/ 1409271 h 1700751"/>
                  <a:gd name="connsiteX74" fmla="*/ 1816054 w 1881147"/>
                  <a:gd name="connsiteY74" fmla="*/ 1462835 h 1700751"/>
                  <a:gd name="connsiteX75" fmla="*/ 1874221 w 1881147"/>
                  <a:gd name="connsiteY75" fmla="*/ 1486156 h 1700751"/>
                  <a:gd name="connsiteX76" fmla="*/ 1875829 w 1881147"/>
                  <a:gd name="connsiteY76" fmla="*/ 1463522 h 1700751"/>
                  <a:gd name="connsiteX77" fmla="*/ 1875051 w 1881147"/>
                  <a:gd name="connsiteY77" fmla="*/ 1402788 h 1700751"/>
                  <a:gd name="connsiteX78" fmla="*/ 1853086 w 1881147"/>
                  <a:gd name="connsiteY78" fmla="*/ 1312645 h 1700751"/>
                  <a:gd name="connsiteX79" fmla="*/ 1853086 w 1881147"/>
                  <a:gd name="connsiteY79" fmla="*/ 1255495 h 1700751"/>
                  <a:gd name="connsiteX80" fmla="*/ 1810224 w 1881147"/>
                  <a:gd name="connsiteY80" fmla="*/ 1245970 h 1700751"/>
                  <a:gd name="connsiteX81" fmla="*/ 1734024 w 1881147"/>
                  <a:gd name="connsiteY81" fmla="*/ 1165007 h 1700751"/>
                  <a:gd name="connsiteX82" fmla="*/ 1695924 w 1881147"/>
                  <a:gd name="connsiteY82" fmla="*/ 984032 h 1700751"/>
                  <a:gd name="connsiteX83" fmla="*/ 1643536 w 1881147"/>
                  <a:gd name="connsiteY83" fmla="*/ 950695 h 1700751"/>
                  <a:gd name="connsiteX84" fmla="*/ 1605436 w 1881147"/>
                  <a:gd name="connsiteY84" fmla="*/ 893545 h 1700751"/>
                  <a:gd name="connsiteX85" fmla="*/ 1557811 w 1881147"/>
                  <a:gd name="connsiteY85" fmla="*/ 845920 h 1700751"/>
                  <a:gd name="connsiteX86" fmla="*/ 1505424 w 1881147"/>
                  <a:gd name="connsiteY86" fmla="*/ 826870 h 1700751"/>
                  <a:gd name="connsiteX87" fmla="*/ 1453036 w 1881147"/>
                  <a:gd name="connsiteY87" fmla="*/ 822107 h 1700751"/>
                  <a:gd name="connsiteX88" fmla="*/ 1510186 w 1881147"/>
                  <a:gd name="connsiteY88" fmla="*/ 788770 h 1700751"/>
                  <a:gd name="connsiteX89" fmla="*/ 1476849 w 1881147"/>
                  <a:gd name="connsiteY89" fmla="*/ 755432 h 1700751"/>
                  <a:gd name="connsiteX90" fmla="*/ 1481611 w 1881147"/>
                  <a:gd name="connsiteY90" fmla="*/ 731620 h 1700751"/>
                  <a:gd name="connsiteX91" fmla="*/ 1572099 w 1881147"/>
                  <a:gd name="connsiteY91" fmla="*/ 769720 h 1700751"/>
                  <a:gd name="connsiteX92" fmla="*/ 1624486 w 1881147"/>
                  <a:gd name="connsiteY92" fmla="*/ 703045 h 1700751"/>
                  <a:gd name="connsiteX93" fmla="*/ 1622283 w 1881147"/>
                  <a:gd name="connsiteY93" fmla="*/ 560170 h 1700751"/>
                  <a:gd name="connsiteX94" fmla="*/ 1639486 w 1881147"/>
                  <a:gd name="connsiteY94" fmla="*/ 411844 h 1700751"/>
                  <a:gd name="connsiteX0" fmla="*/ 1639486 w 1881147"/>
                  <a:gd name="connsiteY0" fmla="*/ 410679 h 1699586"/>
                  <a:gd name="connsiteX1" fmla="*/ 1567336 w 1881147"/>
                  <a:gd name="connsiteY1" fmla="*/ 378030 h 1699586"/>
                  <a:gd name="connsiteX2" fmla="*/ 1477087 w 1881147"/>
                  <a:gd name="connsiteY2" fmla="*/ 354217 h 1699586"/>
                  <a:gd name="connsiteX3" fmla="*/ 1423767 w 1881147"/>
                  <a:gd name="connsiteY3" fmla="*/ 277133 h 1699586"/>
                  <a:gd name="connsiteX4" fmla="*/ 1395785 w 1881147"/>
                  <a:gd name="connsiteY4" fmla="*/ 175288 h 1699586"/>
                  <a:gd name="connsiteX5" fmla="*/ 1364769 w 1881147"/>
                  <a:gd name="connsiteY5" fmla="*/ 7226 h 1699586"/>
                  <a:gd name="connsiteX6" fmla="*/ 1297400 w 1881147"/>
                  <a:gd name="connsiteY6" fmla="*/ 48924 h 1699586"/>
                  <a:gd name="connsiteX7" fmla="*/ 1291832 w 1881147"/>
                  <a:gd name="connsiteY7" fmla="*/ 106447 h 1699586"/>
                  <a:gd name="connsiteX8" fmla="*/ 1275927 w 1881147"/>
                  <a:gd name="connsiteY8" fmla="*/ 157660 h 1699586"/>
                  <a:gd name="connsiteX9" fmla="*/ 1214911 w 1881147"/>
                  <a:gd name="connsiteY9" fmla="*/ 163717 h 1699586"/>
                  <a:gd name="connsiteX10" fmla="*/ 1186336 w 1881147"/>
                  <a:gd name="connsiteY10" fmla="*/ 192292 h 1699586"/>
                  <a:gd name="connsiteX11" fmla="*/ 1176811 w 1881147"/>
                  <a:gd name="connsiteY11" fmla="*/ 263730 h 1699586"/>
                  <a:gd name="connsiteX12" fmla="*/ 1114899 w 1881147"/>
                  <a:gd name="connsiteY12" fmla="*/ 306592 h 1699586"/>
                  <a:gd name="connsiteX13" fmla="*/ 1005361 w 1881147"/>
                  <a:gd name="connsiteY13" fmla="*/ 320880 h 1699586"/>
                  <a:gd name="connsiteX14" fmla="*/ 962499 w 1881147"/>
                  <a:gd name="connsiteY14" fmla="*/ 363742 h 1699586"/>
                  <a:gd name="connsiteX15" fmla="*/ 838674 w 1881147"/>
                  <a:gd name="connsiteY15" fmla="*/ 363742 h 1699586"/>
                  <a:gd name="connsiteX16" fmla="*/ 781524 w 1881147"/>
                  <a:gd name="connsiteY16" fmla="*/ 435180 h 1699586"/>
                  <a:gd name="connsiteX17" fmla="*/ 781524 w 1881147"/>
                  <a:gd name="connsiteY17" fmla="*/ 468517 h 1699586"/>
                  <a:gd name="connsiteX18" fmla="*/ 743424 w 1881147"/>
                  <a:gd name="connsiteY18" fmla="*/ 492330 h 1699586"/>
                  <a:gd name="connsiteX19" fmla="*/ 671986 w 1881147"/>
                  <a:gd name="connsiteY19" fmla="*/ 425655 h 1699586"/>
                  <a:gd name="connsiteX20" fmla="*/ 519586 w 1881147"/>
                  <a:gd name="connsiteY20" fmla="*/ 420892 h 1699586"/>
                  <a:gd name="connsiteX21" fmla="*/ 457674 w 1881147"/>
                  <a:gd name="connsiteY21" fmla="*/ 439942 h 1699586"/>
                  <a:gd name="connsiteX22" fmla="*/ 419574 w 1881147"/>
                  <a:gd name="connsiteY22" fmla="*/ 425655 h 1699586"/>
                  <a:gd name="connsiteX23" fmla="*/ 400524 w 1881147"/>
                  <a:gd name="connsiteY23" fmla="*/ 363742 h 1699586"/>
                  <a:gd name="connsiteX24" fmla="*/ 333849 w 1881147"/>
                  <a:gd name="connsiteY24" fmla="*/ 311355 h 1699586"/>
                  <a:gd name="connsiteX25" fmla="*/ 286224 w 1881147"/>
                  <a:gd name="connsiteY25" fmla="*/ 244680 h 1699586"/>
                  <a:gd name="connsiteX26" fmla="*/ 143349 w 1881147"/>
                  <a:gd name="connsiteY26" fmla="*/ 263730 h 1699586"/>
                  <a:gd name="connsiteX27" fmla="*/ 124299 w 1881147"/>
                  <a:gd name="connsiteY27" fmla="*/ 339930 h 1699586"/>
                  <a:gd name="connsiteX28" fmla="*/ 110011 w 1881147"/>
                  <a:gd name="connsiteY28" fmla="*/ 373267 h 1699586"/>
                  <a:gd name="connsiteX29" fmla="*/ 133824 w 1881147"/>
                  <a:gd name="connsiteY29" fmla="*/ 420892 h 1699586"/>
                  <a:gd name="connsiteX30" fmla="*/ 81436 w 1881147"/>
                  <a:gd name="connsiteY30" fmla="*/ 458992 h 1699586"/>
                  <a:gd name="connsiteX31" fmla="*/ 33811 w 1881147"/>
                  <a:gd name="connsiteY31" fmla="*/ 454230 h 1699586"/>
                  <a:gd name="connsiteX32" fmla="*/ 33811 w 1881147"/>
                  <a:gd name="connsiteY32" fmla="*/ 525667 h 1699586"/>
                  <a:gd name="connsiteX33" fmla="*/ 474 w 1881147"/>
                  <a:gd name="connsiteY33" fmla="*/ 630442 h 1699586"/>
                  <a:gd name="connsiteX34" fmla="*/ 62386 w 1881147"/>
                  <a:gd name="connsiteY34" fmla="*/ 706642 h 1699586"/>
                  <a:gd name="connsiteX35" fmla="*/ 111977 w 1881147"/>
                  <a:gd name="connsiteY35" fmla="*/ 686904 h 1699586"/>
                  <a:gd name="connsiteX36" fmla="*/ 112334 w 1881147"/>
                  <a:gd name="connsiteY36" fmla="*/ 757163 h 1699586"/>
                  <a:gd name="connsiteX37" fmla="*/ 167161 w 1881147"/>
                  <a:gd name="connsiteY37" fmla="*/ 787605 h 1699586"/>
                  <a:gd name="connsiteX38" fmla="*/ 236159 w 1881147"/>
                  <a:gd name="connsiteY38" fmla="*/ 797817 h 1699586"/>
                  <a:gd name="connsiteX39" fmla="*/ 271462 w 1881147"/>
                  <a:gd name="connsiteY39" fmla="*/ 853788 h 1699586"/>
                  <a:gd name="connsiteX40" fmla="*/ 270869 w 1881147"/>
                  <a:gd name="connsiteY40" fmla="*/ 898860 h 1699586"/>
                  <a:gd name="connsiteX41" fmla="*/ 295393 w 1881147"/>
                  <a:gd name="connsiteY41" fmla="*/ 938335 h 1699586"/>
                  <a:gd name="connsiteX42" fmla="*/ 341051 w 1881147"/>
                  <a:gd name="connsiteY42" fmla="*/ 976927 h 1699586"/>
                  <a:gd name="connsiteX43" fmla="*/ 426184 w 1881147"/>
                  <a:gd name="connsiteY43" fmla="*/ 1031179 h 1699586"/>
                  <a:gd name="connsiteX44" fmla="*/ 461961 w 1881147"/>
                  <a:gd name="connsiteY44" fmla="*/ 1102272 h 1699586"/>
                  <a:gd name="connsiteX45" fmla="*/ 441064 w 1881147"/>
                  <a:gd name="connsiteY45" fmla="*/ 1171845 h 1699586"/>
                  <a:gd name="connsiteX46" fmla="*/ 519111 w 1881147"/>
                  <a:gd name="connsiteY46" fmla="*/ 1228308 h 1699586"/>
                  <a:gd name="connsiteX47" fmla="*/ 591143 w 1881147"/>
                  <a:gd name="connsiteY47" fmla="*/ 1261302 h 1699586"/>
                  <a:gd name="connsiteX48" fmla="*/ 571974 w 1881147"/>
                  <a:gd name="connsiteY48" fmla="*/ 1321005 h 1699586"/>
                  <a:gd name="connsiteX49" fmla="*/ 662461 w 1881147"/>
                  <a:gd name="connsiteY49" fmla="*/ 1473405 h 1699586"/>
                  <a:gd name="connsiteX50" fmla="*/ 755271 w 1881147"/>
                  <a:gd name="connsiteY50" fmla="*/ 1546559 h 1699586"/>
                  <a:gd name="connsiteX51" fmla="*/ 805336 w 1881147"/>
                  <a:gd name="connsiteY51" fmla="*/ 1497217 h 1699586"/>
                  <a:gd name="connsiteX52" fmla="*/ 869926 w 1881147"/>
                  <a:gd name="connsiteY52" fmla="*/ 1524614 h 1699586"/>
                  <a:gd name="connsiteX53" fmla="*/ 924399 w 1881147"/>
                  <a:gd name="connsiteY53" fmla="*/ 1492455 h 1699586"/>
                  <a:gd name="connsiteX54" fmla="*/ 941246 w 1881147"/>
                  <a:gd name="connsiteY54" fmla="*/ 1450279 h 1699586"/>
                  <a:gd name="connsiteX55" fmla="*/ 1005123 w 1881147"/>
                  <a:gd name="connsiteY55" fmla="*/ 1536691 h 1699586"/>
                  <a:gd name="connsiteX56" fmla="*/ 1050190 w 1881147"/>
                  <a:gd name="connsiteY56" fmla="*/ 1607785 h 1699586"/>
                  <a:gd name="connsiteX57" fmla="*/ 1120136 w 1881147"/>
                  <a:gd name="connsiteY57" fmla="*/ 1699304 h 1699586"/>
                  <a:gd name="connsiteX58" fmla="*/ 1151034 w 1881147"/>
                  <a:gd name="connsiteY58" fmla="*/ 1636213 h 1699586"/>
                  <a:gd name="connsiteX59" fmla="*/ 1181693 w 1881147"/>
                  <a:gd name="connsiteY59" fmla="*/ 1629733 h 1699586"/>
                  <a:gd name="connsiteX60" fmla="*/ 1224792 w 1881147"/>
                  <a:gd name="connsiteY60" fmla="*/ 1658996 h 1699586"/>
                  <a:gd name="connsiteX61" fmla="*/ 1258367 w 1881147"/>
                  <a:gd name="connsiteY61" fmla="*/ 1618342 h 1699586"/>
                  <a:gd name="connsiteX62" fmla="*/ 1277188 w 1881147"/>
                  <a:gd name="connsiteY62" fmla="*/ 1622959 h 1699586"/>
                  <a:gd name="connsiteX63" fmla="*/ 1311230 w 1881147"/>
                  <a:gd name="connsiteY63" fmla="*/ 1689436 h 1699586"/>
                  <a:gd name="connsiteX64" fmla="*/ 1367786 w 1881147"/>
                  <a:gd name="connsiteY64" fmla="*/ 1665967 h 1699586"/>
                  <a:gd name="connsiteX65" fmla="*/ 1419818 w 1881147"/>
                  <a:gd name="connsiteY65" fmla="*/ 1609846 h 1699586"/>
                  <a:gd name="connsiteX66" fmla="*/ 1470595 w 1881147"/>
                  <a:gd name="connsiteY66" fmla="*/ 1593303 h 1699586"/>
                  <a:gd name="connsiteX67" fmla="*/ 1488274 w 1881147"/>
                  <a:gd name="connsiteY67" fmla="*/ 1649125 h 1699586"/>
                  <a:gd name="connsiteX68" fmla="*/ 1558169 w 1881147"/>
                  <a:gd name="connsiteY68" fmla="*/ 1623447 h 1699586"/>
                  <a:gd name="connsiteX69" fmla="*/ 1588947 w 1881147"/>
                  <a:gd name="connsiteY69" fmla="*/ 1536691 h 1699586"/>
                  <a:gd name="connsiteX70" fmla="*/ 1670383 w 1881147"/>
                  <a:gd name="connsiteY70" fmla="*/ 1446549 h 1699586"/>
                  <a:gd name="connsiteX71" fmla="*/ 1714974 w 1881147"/>
                  <a:gd name="connsiteY71" fmla="*/ 1415419 h 1699586"/>
                  <a:gd name="connsiteX72" fmla="*/ 1743343 w 1881147"/>
                  <a:gd name="connsiteY72" fmla="*/ 1418714 h 1699586"/>
                  <a:gd name="connsiteX73" fmla="*/ 1820935 w 1881147"/>
                  <a:gd name="connsiteY73" fmla="*/ 1408106 h 1699586"/>
                  <a:gd name="connsiteX74" fmla="*/ 1816054 w 1881147"/>
                  <a:gd name="connsiteY74" fmla="*/ 1461670 h 1699586"/>
                  <a:gd name="connsiteX75" fmla="*/ 1874221 w 1881147"/>
                  <a:gd name="connsiteY75" fmla="*/ 1484991 h 1699586"/>
                  <a:gd name="connsiteX76" fmla="*/ 1875829 w 1881147"/>
                  <a:gd name="connsiteY76" fmla="*/ 1462357 h 1699586"/>
                  <a:gd name="connsiteX77" fmla="*/ 1875051 w 1881147"/>
                  <a:gd name="connsiteY77" fmla="*/ 1401623 h 1699586"/>
                  <a:gd name="connsiteX78" fmla="*/ 1853086 w 1881147"/>
                  <a:gd name="connsiteY78" fmla="*/ 1311480 h 1699586"/>
                  <a:gd name="connsiteX79" fmla="*/ 1853086 w 1881147"/>
                  <a:gd name="connsiteY79" fmla="*/ 1254330 h 1699586"/>
                  <a:gd name="connsiteX80" fmla="*/ 1810224 w 1881147"/>
                  <a:gd name="connsiteY80" fmla="*/ 1244805 h 1699586"/>
                  <a:gd name="connsiteX81" fmla="*/ 1734024 w 1881147"/>
                  <a:gd name="connsiteY81" fmla="*/ 1163842 h 1699586"/>
                  <a:gd name="connsiteX82" fmla="*/ 1695924 w 1881147"/>
                  <a:gd name="connsiteY82" fmla="*/ 982867 h 1699586"/>
                  <a:gd name="connsiteX83" fmla="*/ 1643536 w 1881147"/>
                  <a:gd name="connsiteY83" fmla="*/ 949530 h 1699586"/>
                  <a:gd name="connsiteX84" fmla="*/ 1605436 w 1881147"/>
                  <a:gd name="connsiteY84" fmla="*/ 892380 h 1699586"/>
                  <a:gd name="connsiteX85" fmla="*/ 1557811 w 1881147"/>
                  <a:gd name="connsiteY85" fmla="*/ 844755 h 1699586"/>
                  <a:gd name="connsiteX86" fmla="*/ 1505424 w 1881147"/>
                  <a:gd name="connsiteY86" fmla="*/ 825705 h 1699586"/>
                  <a:gd name="connsiteX87" fmla="*/ 1453036 w 1881147"/>
                  <a:gd name="connsiteY87" fmla="*/ 820942 h 1699586"/>
                  <a:gd name="connsiteX88" fmla="*/ 1510186 w 1881147"/>
                  <a:gd name="connsiteY88" fmla="*/ 787605 h 1699586"/>
                  <a:gd name="connsiteX89" fmla="*/ 1476849 w 1881147"/>
                  <a:gd name="connsiteY89" fmla="*/ 754267 h 1699586"/>
                  <a:gd name="connsiteX90" fmla="*/ 1481611 w 1881147"/>
                  <a:gd name="connsiteY90" fmla="*/ 730455 h 1699586"/>
                  <a:gd name="connsiteX91" fmla="*/ 1572099 w 1881147"/>
                  <a:gd name="connsiteY91" fmla="*/ 768555 h 1699586"/>
                  <a:gd name="connsiteX92" fmla="*/ 1624486 w 1881147"/>
                  <a:gd name="connsiteY92" fmla="*/ 701880 h 1699586"/>
                  <a:gd name="connsiteX93" fmla="*/ 1622283 w 1881147"/>
                  <a:gd name="connsiteY93" fmla="*/ 559005 h 1699586"/>
                  <a:gd name="connsiteX94" fmla="*/ 1639486 w 1881147"/>
                  <a:gd name="connsiteY94" fmla="*/ 410679 h 1699586"/>
                  <a:gd name="connsiteX0" fmla="*/ 1639486 w 1881147"/>
                  <a:gd name="connsiteY0" fmla="*/ 403727 h 1692634"/>
                  <a:gd name="connsiteX1" fmla="*/ 1567336 w 1881147"/>
                  <a:gd name="connsiteY1" fmla="*/ 371078 h 1692634"/>
                  <a:gd name="connsiteX2" fmla="*/ 1477087 w 1881147"/>
                  <a:gd name="connsiteY2" fmla="*/ 347265 h 1692634"/>
                  <a:gd name="connsiteX3" fmla="*/ 1423767 w 1881147"/>
                  <a:gd name="connsiteY3" fmla="*/ 270181 h 1692634"/>
                  <a:gd name="connsiteX4" fmla="*/ 1395785 w 1881147"/>
                  <a:gd name="connsiteY4" fmla="*/ 168336 h 1692634"/>
                  <a:gd name="connsiteX5" fmla="*/ 1364769 w 1881147"/>
                  <a:gd name="connsiteY5" fmla="*/ 274 h 1692634"/>
                  <a:gd name="connsiteX6" fmla="*/ 1297400 w 1881147"/>
                  <a:gd name="connsiteY6" fmla="*/ 41972 h 1692634"/>
                  <a:gd name="connsiteX7" fmla="*/ 1291832 w 1881147"/>
                  <a:gd name="connsiteY7" fmla="*/ 99495 h 1692634"/>
                  <a:gd name="connsiteX8" fmla="*/ 1275927 w 1881147"/>
                  <a:gd name="connsiteY8" fmla="*/ 150708 h 1692634"/>
                  <a:gd name="connsiteX9" fmla="*/ 1214911 w 1881147"/>
                  <a:gd name="connsiteY9" fmla="*/ 156765 h 1692634"/>
                  <a:gd name="connsiteX10" fmla="*/ 1186336 w 1881147"/>
                  <a:gd name="connsiteY10" fmla="*/ 185340 h 1692634"/>
                  <a:gd name="connsiteX11" fmla="*/ 1176811 w 1881147"/>
                  <a:gd name="connsiteY11" fmla="*/ 256778 h 1692634"/>
                  <a:gd name="connsiteX12" fmla="*/ 1114899 w 1881147"/>
                  <a:gd name="connsiteY12" fmla="*/ 299640 h 1692634"/>
                  <a:gd name="connsiteX13" fmla="*/ 1005361 w 1881147"/>
                  <a:gd name="connsiteY13" fmla="*/ 313928 h 1692634"/>
                  <a:gd name="connsiteX14" fmla="*/ 962499 w 1881147"/>
                  <a:gd name="connsiteY14" fmla="*/ 356790 h 1692634"/>
                  <a:gd name="connsiteX15" fmla="*/ 838674 w 1881147"/>
                  <a:gd name="connsiteY15" fmla="*/ 356790 h 1692634"/>
                  <a:gd name="connsiteX16" fmla="*/ 781524 w 1881147"/>
                  <a:gd name="connsiteY16" fmla="*/ 428228 h 1692634"/>
                  <a:gd name="connsiteX17" fmla="*/ 781524 w 1881147"/>
                  <a:gd name="connsiteY17" fmla="*/ 461565 h 1692634"/>
                  <a:gd name="connsiteX18" fmla="*/ 743424 w 1881147"/>
                  <a:gd name="connsiteY18" fmla="*/ 485378 h 1692634"/>
                  <a:gd name="connsiteX19" fmla="*/ 671986 w 1881147"/>
                  <a:gd name="connsiteY19" fmla="*/ 418703 h 1692634"/>
                  <a:gd name="connsiteX20" fmla="*/ 519586 w 1881147"/>
                  <a:gd name="connsiteY20" fmla="*/ 413940 h 1692634"/>
                  <a:gd name="connsiteX21" fmla="*/ 457674 w 1881147"/>
                  <a:gd name="connsiteY21" fmla="*/ 432990 h 1692634"/>
                  <a:gd name="connsiteX22" fmla="*/ 419574 w 1881147"/>
                  <a:gd name="connsiteY22" fmla="*/ 418703 h 1692634"/>
                  <a:gd name="connsiteX23" fmla="*/ 400524 w 1881147"/>
                  <a:gd name="connsiteY23" fmla="*/ 356790 h 1692634"/>
                  <a:gd name="connsiteX24" fmla="*/ 333849 w 1881147"/>
                  <a:gd name="connsiteY24" fmla="*/ 304403 h 1692634"/>
                  <a:gd name="connsiteX25" fmla="*/ 286224 w 1881147"/>
                  <a:gd name="connsiteY25" fmla="*/ 237728 h 1692634"/>
                  <a:gd name="connsiteX26" fmla="*/ 143349 w 1881147"/>
                  <a:gd name="connsiteY26" fmla="*/ 256778 h 1692634"/>
                  <a:gd name="connsiteX27" fmla="*/ 124299 w 1881147"/>
                  <a:gd name="connsiteY27" fmla="*/ 332978 h 1692634"/>
                  <a:gd name="connsiteX28" fmla="*/ 110011 w 1881147"/>
                  <a:gd name="connsiteY28" fmla="*/ 366315 h 1692634"/>
                  <a:gd name="connsiteX29" fmla="*/ 133824 w 1881147"/>
                  <a:gd name="connsiteY29" fmla="*/ 413940 h 1692634"/>
                  <a:gd name="connsiteX30" fmla="*/ 81436 w 1881147"/>
                  <a:gd name="connsiteY30" fmla="*/ 452040 h 1692634"/>
                  <a:gd name="connsiteX31" fmla="*/ 33811 w 1881147"/>
                  <a:gd name="connsiteY31" fmla="*/ 447278 h 1692634"/>
                  <a:gd name="connsiteX32" fmla="*/ 33811 w 1881147"/>
                  <a:gd name="connsiteY32" fmla="*/ 518715 h 1692634"/>
                  <a:gd name="connsiteX33" fmla="*/ 474 w 1881147"/>
                  <a:gd name="connsiteY33" fmla="*/ 623490 h 1692634"/>
                  <a:gd name="connsiteX34" fmla="*/ 62386 w 1881147"/>
                  <a:gd name="connsiteY34" fmla="*/ 699690 h 1692634"/>
                  <a:gd name="connsiteX35" fmla="*/ 111977 w 1881147"/>
                  <a:gd name="connsiteY35" fmla="*/ 679952 h 1692634"/>
                  <a:gd name="connsiteX36" fmla="*/ 112334 w 1881147"/>
                  <a:gd name="connsiteY36" fmla="*/ 750211 h 1692634"/>
                  <a:gd name="connsiteX37" fmla="*/ 167161 w 1881147"/>
                  <a:gd name="connsiteY37" fmla="*/ 780653 h 1692634"/>
                  <a:gd name="connsiteX38" fmla="*/ 236159 w 1881147"/>
                  <a:gd name="connsiteY38" fmla="*/ 790865 h 1692634"/>
                  <a:gd name="connsiteX39" fmla="*/ 271462 w 1881147"/>
                  <a:gd name="connsiteY39" fmla="*/ 846836 h 1692634"/>
                  <a:gd name="connsiteX40" fmla="*/ 270869 w 1881147"/>
                  <a:gd name="connsiteY40" fmla="*/ 891908 h 1692634"/>
                  <a:gd name="connsiteX41" fmla="*/ 295393 w 1881147"/>
                  <a:gd name="connsiteY41" fmla="*/ 931383 h 1692634"/>
                  <a:gd name="connsiteX42" fmla="*/ 341051 w 1881147"/>
                  <a:gd name="connsiteY42" fmla="*/ 969975 h 1692634"/>
                  <a:gd name="connsiteX43" fmla="*/ 426184 w 1881147"/>
                  <a:gd name="connsiteY43" fmla="*/ 1024227 h 1692634"/>
                  <a:gd name="connsiteX44" fmla="*/ 461961 w 1881147"/>
                  <a:gd name="connsiteY44" fmla="*/ 1095320 h 1692634"/>
                  <a:gd name="connsiteX45" fmla="*/ 441064 w 1881147"/>
                  <a:gd name="connsiteY45" fmla="*/ 1164893 h 1692634"/>
                  <a:gd name="connsiteX46" fmla="*/ 519111 w 1881147"/>
                  <a:gd name="connsiteY46" fmla="*/ 1221356 h 1692634"/>
                  <a:gd name="connsiteX47" fmla="*/ 591143 w 1881147"/>
                  <a:gd name="connsiteY47" fmla="*/ 1254350 h 1692634"/>
                  <a:gd name="connsiteX48" fmla="*/ 571974 w 1881147"/>
                  <a:gd name="connsiteY48" fmla="*/ 1314053 h 1692634"/>
                  <a:gd name="connsiteX49" fmla="*/ 662461 w 1881147"/>
                  <a:gd name="connsiteY49" fmla="*/ 1466453 h 1692634"/>
                  <a:gd name="connsiteX50" fmla="*/ 755271 w 1881147"/>
                  <a:gd name="connsiteY50" fmla="*/ 1539607 h 1692634"/>
                  <a:gd name="connsiteX51" fmla="*/ 805336 w 1881147"/>
                  <a:gd name="connsiteY51" fmla="*/ 1490265 h 1692634"/>
                  <a:gd name="connsiteX52" fmla="*/ 869926 w 1881147"/>
                  <a:gd name="connsiteY52" fmla="*/ 1517662 h 1692634"/>
                  <a:gd name="connsiteX53" fmla="*/ 924399 w 1881147"/>
                  <a:gd name="connsiteY53" fmla="*/ 1485503 h 1692634"/>
                  <a:gd name="connsiteX54" fmla="*/ 941246 w 1881147"/>
                  <a:gd name="connsiteY54" fmla="*/ 1443327 h 1692634"/>
                  <a:gd name="connsiteX55" fmla="*/ 1005123 w 1881147"/>
                  <a:gd name="connsiteY55" fmla="*/ 1529739 h 1692634"/>
                  <a:gd name="connsiteX56" fmla="*/ 1050190 w 1881147"/>
                  <a:gd name="connsiteY56" fmla="*/ 1600833 h 1692634"/>
                  <a:gd name="connsiteX57" fmla="*/ 1120136 w 1881147"/>
                  <a:gd name="connsiteY57" fmla="*/ 1692352 h 1692634"/>
                  <a:gd name="connsiteX58" fmla="*/ 1151034 w 1881147"/>
                  <a:gd name="connsiteY58" fmla="*/ 1629261 h 1692634"/>
                  <a:gd name="connsiteX59" fmla="*/ 1181693 w 1881147"/>
                  <a:gd name="connsiteY59" fmla="*/ 1622781 h 1692634"/>
                  <a:gd name="connsiteX60" fmla="*/ 1224792 w 1881147"/>
                  <a:gd name="connsiteY60" fmla="*/ 1652044 h 1692634"/>
                  <a:gd name="connsiteX61" fmla="*/ 1258367 w 1881147"/>
                  <a:gd name="connsiteY61" fmla="*/ 1611390 h 1692634"/>
                  <a:gd name="connsiteX62" fmla="*/ 1277188 w 1881147"/>
                  <a:gd name="connsiteY62" fmla="*/ 1616007 h 1692634"/>
                  <a:gd name="connsiteX63" fmla="*/ 1311230 w 1881147"/>
                  <a:gd name="connsiteY63" fmla="*/ 1682484 h 1692634"/>
                  <a:gd name="connsiteX64" fmla="*/ 1367786 w 1881147"/>
                  <a:gd name="connsiteY64" fmla="*/ 1659015 h 1692634"/>
                  <a:gd name="connsiteX65" fmla="*/ 1419818 w 1881147"/>
                  <a:gd name="connsiteY65" fmla="*/ 1602894 h 1692634"/>
                  <a:gd name="connsiteX66" fmla="*/ 1470595 w 1881147"/>
                  <a:gd name="connsiteY66" fmla="*/ 1586351 h 1692634"/>
                  <a:gd name="connsiteX67" fmla="*/ 1488274 w 1881147"/>
                  <a:gd name="connsiteY67" fmla="*/ 1642173 h 1692634"/>
                  <a:gd name="connsiteX68" fmla="*/ 1558169 w 1881147"/>
                  <a:gd name="connsiteY68" fmla="*/ 1616495 h 1692634"/>
                  <a:gd name="connsiteX69" fmla="*/ 1588947 w 1881147"/>
                  <a:gd name="connsiteY69" fmla="*/ 1529739 h 1692634"/>
                  <a:gd name="connsiteX70" fmla="*/ 1670383 w 1881147"/>
                  <a:gd name="connsiteY70" fmla="*/ 1439597 h 1692634"/>
                  <a:gd name="connsiteX71" fmla="*/ 1714974 w 1881147"/>
                  <a:gd name="connsiteY71" fmla="*/ 1408467 h 1692634"/>
                  <a:gd name="connsiteX72" fmla="*/ 1743343 w 1881147"/>
                  <a:gd name="connsiteY72" fmla="*/ 1411762 h 1692634"/>
                  <a:gd name="connsiteX73" fmla="*/ 1820935 w 1881147"/>
                  <a:gd name="connsiteY73" fmla="*/ 1401154 h 1692634"/>
                  <a:gd name="connsiteX74" fmla="*/ 1816054 w 1881147"/>
                  <a:gd name="connsiteY74" fmla="*/ 1454718 h 1692634"/>
                  <a:gd name="connsiteX75" fmla="*/ 1874221 w 1881147"/>
                  <a:gd name="connsiteY75" fmla="*/ 1478039 h 1692634"/>
                  <a:gd name="connsiteX76" fmla="*/ 1875829 w 1881147"/>
                  <a:gd name="connsiteY76" fmla="*/ 1455405 h 1692634"/>
                  <a:gd name="connsiteX77" fmla="*/ 1875051 w 1881147"/>
                  <a:gd name="connsiteY77" fmla="*/ 1394671 h 1692634"/>
                  <a:gd name="connsiteX78" fmla="*/ 1853086 w 1881147"/>
                  <a:gd name="connsiteY78" fmla="*/ 1304528 h 1692634"/>
                  <a:gd name="connsiteX79" fmla="*/ 1853086 w 1881147"/>
                  <a:gd name="connsiteY79" fmla="*/ 1247378 h 1692634"/>
                  <a:gd name="connsiteX80" fmla="*/ 1810224 w 1881147"/>
                  <a:gd name="connsiteY80" fmla="*/ 1237853 h 1692634"/>
                  <a:gd name="connsiteX81" fmla="*/ 1734024 w 1881147"/>
                  <a:gd name="connsiteY81" fmla="*/ 1156890 h 1692634"/>
                  <a:gd name="connsiteX82" fmla="*/ 1695924 w 1881147"/>
                  <a:gd name="connsiteY82" fmla="*/ 975915 h 1692634"/>
                  <a:gd name="connsiteX83" fmla="*/ 1643536 w 1881147"/>
                  <a:gd name="connsiteY83" fmla="*/ 942578 h 1692634"/>
                  <a:gd name="connsiteX84" fmla="*/ 1605436 w 1881147"/>
                  <a:gd name="connsiteY84" fmla="*/ 885428 h 1692634"/>
                  <a:gd name="connsiteX85" fmla="*/ 1557811 w 1881147"/>
                  <a:gd name="connsiteY85" fmla="*/ 837803 h 1692634"/>
                  <a:gd name="connsiteX86" fmla="*/ 1505424 w 1881147"/>
                  <a:gd name="connsiteY86" fmla="*/ 818753 h 1692634"/>
                  <a:gd name="connsiteX87" fmla="*/ 1453036 w 1881147"/>
                  <a:gd name="connsiteY87" fmla="*/ 813990 h 1692634"/>
                  <a:gd name="connsiteX88" fmla="*/ 1510186 w 1881147"/>
                  <a:gd name="connsiteY88" fmla="*/ 780653 h 1692634"/>
                  <a:gd name="connsiteX89" fmla="*/ 1476849 w 1881147"/>
                  <a:gd name="connsiteY89" fmla="*/ 747315 h 1692634"/>
                  <a:gd name="connsiteX90" fmla="*/ 1481611 w 1881147"/>
                  <a:gd name="connsiteY90" fmla="*/ 723503 h 1692634"/>
                  <a:gd name="connsiteX91" fmla="*/ 1572099 w 1881147"/>
                  <a:gd name="connsiteY91" fmla="*/ 761603 h 1692634"/>
                  <a:gd name="connsiteX92" fmla="*/ 1624486 w 1881147"/>
                  <a:gd name="connsiteY92" fmla="*/ 694928 h 1692634"/>
                  <a:gd name="connsiteX93" fmla="*/ 1622283 w 1881147"/>
                  <a:gd name="connsiteY93" fmla="*/ 552053 h 1692634"/>
                  <a:gd name="connsiteX94" fmla="*/ 1639486 w 1881147"/>
                  <a:gd name="connsiteY94" fmla="*/ 403727 h 1692634"/>
                  <a:gd name="connsiteX0" fmla="*/ 1639486 w 1881147"/>
                  <a:gd name="connsiteY0" fmla="*/ 403995 h 1692902"/>
                  <a:gd name="connsiteX1" fmla="*/ 1567336 w 1881147"/>
                  <a:gd name="connsiteY1" fmla="*/ 371346 h 1692902"/>
                  <a:gd name="connsiteX2" fmla="*/ 1477087 w 1881147"/>
                  <a:gd name="connsiteY2" fmla="*/ 347533 h 1692902"/>
                  <a:gd name="connsiteX3" fmla="*/ 1423767 w 1881147"/>
                  <a:gd name="connsiteY3" fmla="*/ 270449 h 1692902"/>
                  <a:gd name="connsiteX4" fmla="*/ 1395785 w 1881147"/>
                  <a:gd name="connsiteY4" fmla="*/ 168604 h 1692902"/>
                  <a:gd name="connsiteX5" fmla="*/ 1364769 w 1881147"/>
                  <a:gd name="connsiteY5" fmla="*/ 542 h 1692902"/>
                  <a:gd name="connsiteX6" fmla="*/ 1297400 w 1881147"/>
                  <a:gd name="connsiteY6" fmla="*/ 42240 h 1692902"/>
                  <a:gd name="connsiteX7" fmla="*/ 1291832 w 1881147"/>
                  <a:gd name="connsiteY7" fmla="*/ 99763 h 1692902"/>
                  <a:gd name="connsiteX8" fmla="*/ 1275927 w 1881147"/>
                  <a:gd name="connsiteY8" fmla="*/ 150976 h 1692902"/>
                  <a:gd name="connsiteX9" fmla="*/ 1214911 w 1881147"/>
                  <a:gd name="connsiteY9" fmla="*/ 157033 h 1692902"/>
                  <a:gd name="connsiteX10" fmla="*/ 1186336 w 1881147"/>
                  <a:gd name="connsiteY10" fmla="*/ 185608 h 1692902"/>
                  <a:gd name="connsiteX11" fmla="*/ 1176811 w 1881147"/>
                  <a:gd name="connsiteY11" fmla="*/ 257046 h 1692902"/>
                  <a:gd name="connsiteX12" fmla="*/ 1114899 w 1881147"/>
                  <a:gd name="connsiteY12" fmla="*/ 299908 h 1692902"/>
                  <a:gd name="connsiteX13" fmla="*/ 1005361 w 1881147"/>
                  <a:gd name="connsiteY13" fmla="*/ 314196 h 1692902"/>
                  <a:gd name="connsiteX14" fmla="*/ 962499 w 1881147"/>
                  <a:gd name="connsiteY14" fmla="*/ 357058 h 1692902"/>
                  <a:gd name="connsiteX15" fmla="*/ 838674 w 1881147"/>
                  <a:gd name="connsiteY15" fmla="*/ 357058 h 1692902"/>
                  <a:gd name="connsiteX16" fmla="*/ 781524 w 1881147"/>
                  <a:gd name="connsiteY16" fmla="*/ 428496 h 1692902"/>
                  <a:gd name="connsiteX17" fmla="*/ 781524 w 1881147"/>
                  <a:gd name="connsiteY17" fmla="*/ 461833 h 1692902"/>
                  <a:gd name="connsiteX18" fmla="*/ 743424 w 1881147"/>
                  <a:gd name="connsiteY18" fmla="*/ 485646 h 1692902"/>
                  <a:gd name="connsiteX19" fmla="*/ 671986 w 1881147"/>
                  <a:gd name="connsiteY19" fmla="*/ 418971 h 1692902"/>
                  <a:gd name="connsiteX20" fmla="*/ 519586 w 1881147"/>
                  <a:gd name="connsiteY20" fmla="*/ 414208 h 1692902"/>
                  <a:gd name="connsiteX21" fmla="*/ 457674 w 1881147"/>
                  <a:gd name="connsiteY21" fmla="*/ 433258 h 1692902"/>
                  <a:gd name="connsiteX22" fmla="*/ 419574 w 1881147"/>
                  <a:gd name="connsiteY22" fmla="*/ 418971 h 1692902"/>
                  <a:gd name="connsiteX23" fmla="*/ 400524 w 1881147"/>
                  <a:gd name="connsiteY23" fmla="*/ 357058 h 1692902"/>
                  <a:gd name="connsiteX24" fmla="*/ 333849 w 1881147"/>
                  <a:gd name="connsiteY24" fmla="*/ 304671 h 1692902"/>
                  <a:gd name="connsiteX25" fmla="*/ 286224 w 1881147"/>
                  <a:gd name="connsiteY25" fmla="*/ 237996 h 1692902"/>
                  <a:gd name="connsiteX26" fmla="*/ 143349 w 1881147"/>
                  <a:gd name="connsiteY26" fmla="*/ 257046 h 1692902"/>
                  <a:gd name="connsiteX27" fmla="*/ 124299 w 1881147"/>
                  <a:gd name="connsiteY27" fmla="*/ 333246 h 1692902"/>
                  <a:gd name="connsiteX28" fmla="*/ 110011 w 1881147"/>
                  <a:gd name="connsiteY28" fmla="*/ 366583 h 1692902"/>
                  <a:gd name="connsiteX29" fmla="*/ 133824 w 1881147"/>
                  <a:gd name="connsiteY29" fmla="*/ 414208 h 1692902"/>
                  <a:gd name="connsiteX30" fmla="*/ 81436 w 1881147"/>
                  <a:gd name="connsiteY30" fmla="*/ 452308 h 1692902"/>
                  <a:gd name="connsiteX31" fmla="*/ 33811 w 1881147"/>
                  <a:gd name="connsiteY31" fmla="*/ 447546 h 1692902"/>
                  <a:gd name="connsiteX32" fmla="*/ 33811 w 1881147"/>
                  <a:gd name="connsiteY32" fmla="*/ 518983 h 1692902"/>
                  <a:gd name="connsiteX33" fmla="*/ 474 w 1881147"/>
                  <a:gd name="connsiteY33" fmla="*/ 623758 h 1692902"/>
                  <a:gd name="connsiteX34" fmla="*/ 62386 w 1881147"/>
                  <a:gd name="connsiteY34" fmla="*/ 699958 h 1692902"/>
                  <a:gd name="connsiteX35" fmla="*/ 111977 w 1881147"/>
                  <a:gd name="connsiteY35" fmla="*/ 680220 h 1692902"/>
                  <a:gd name="connsiteX36" fmla="*/ 112334 w 1881147"/>
                  <a:gd name="connsiteY36" fmla="*/ 750479 h 1692902"/>
                  <a:gd name="connsiteX37" fmla="*/ 167161 w 1881147"/>
                  <a:gd name="connsiteY37" fmla="*/ 780921 h 1692902"/>
                  <a:gd name="connsiteX38" fmla="*/ 236159 w 1881147"/>
                  <a:gd name="connsiteY38" fmla="*/ 791133 h 1692902"/>
                  <a:gd name="connsiteX39" fmla="*/ 271462 w 1881147"/>
                  <a:gd name="connsiteY39" fmla="*/ 847104 h 1692902"/>
                  <a:gd name="connsiteX40" fmla="*/ 270869 w 1881147"/>
                  <a:gd name="connsiteY40" fmla="*/ 892176 h 1692902"/>
                  <a:gd name="connsiteX41" fmla="*/ 295393 w 1881147"/>
                  <a:gd name="connsiteY41" fmla="*/ 931651 h 1692902"/>
                  <a:gd name="connsiteX42" fmla="*/ 341051 w 1881147"/>
                  <a:gd name="connsiteY42" fmla="*/ 970243 h 1692902"/>
                  <a:gd name="connsiteX43" fmla="*/ 426184 w 1881147"/>
                  <a:gd name="connsiteY43" fmla="*/ 1024495 h 1692902"/>
                  <a:gd name="connsiteX44" fmla="*/ 461961 w 1881147"/>
                  <a:gd name="connsiteY44" fmla="*/ 1095588 h 1692902"/>
                  <a:gd name="connsiteX45" fmla="*/ 441064 w 1881147"/>
                  <a:gd name="connsiteY45" fmla="*/ 1165161 h 1692902"/>
                  <a:gd name="connsiteX46" fmla="*/ 519111 w 1881147"/>
                  <a:gd name="connsiteY46" fmla="*/ 1221624 h 1692902"/>
                  <a:gd name="connsiteX47" fmla="*/ 591143 w 1881147"/>
                  <a:gd name="connsiteY47" fmla="*/ 1254618 h 1692902"/>
                  <a:gd name="connsiteX48" fmla="*/ 571974 w 1881147"/>
                  <a:gd name="connsiteY48" fmla="*/ 1314321 h 1692902"/>
                  <a:gd name="connsiteX49" fmla="*/ 662461 w 1881147"/>
                  <a:gd name="connsiteY49" fmla="*/ 1466721 h 1692902"/>
                  <a:gd name="connsiteX50" fmla="*/ 755271 w 1881147"/>
                  <a:gd name="connsiteY50" fmla="*/ 1539875 h 1692902"/>
                  <a:gd name="connsiteX51" fmla="*/ 805336 w 1881147"/>
                  <a:gd name="connsiteY51" fmla="*/ 1490533 h 1692902"/>
                  <a:gd name="connsiteX52" fmla="*/ 869926 w 1881147"/>
                  <a:gd name="connsiteY52" fmla="*/ 1517930 h 1692902"/>
                  <a:gd name="connsiteX53" fmla="*/ 924399 w 1881147"/>
                  <a:gd name="connsiteY53" fmla="*/ 1485771 h 1692902"/>
                  <a:gd name="connsiteX54" fmla="*/ 941246 w 1881147"/>
                  <a:gd name="connsiteY54" fmla="*/ 1443595 h 1692902"/>
                  <a:gd name="connsiteX55" fmla="*/ 1005123 w 1881147"/>
                  <a:gd name="connsiteY55" fmla="*/ 1530007 h 1692902"/>
                  <a:gd name="connsiteX56" fmla="*/ 1050190 w 1881147"/>
                  <a:gd name="connsiteY56" fmla="*/ 1601101 h 1692902"/>
                  <a:gd name="connsiteX57" fmla="*/ 1120136 w 1881147"/>
                  <a:gd name="connsiteY57" fmla="*/ 1692620 h 1692902"/>
                  <a:gd name="connsiteX58" fmla="*/ 1151034 w 1881147"/>
                  <a:gd name="connsiteY58" fmla="*/ 1629529 h 1692902"/>
                  <a:gd name="connsiteX59" fmla="*/ 1181693 w 1881147"/>
                  <a:gd name="connsiteY59" fmla="*/ 1623049 h 1692902"/>
                  <a:gd name="connsiteX60" fmla="*/ 1224792 w 1881147"/>
                  <a:gd name="connsiteY60" fmla="*/ 1652312 h 1692902"/>
                  <a:gd name="connsiteX61" fmla="*/ 1258367 w 1881147"/>
                  <a:gd name="connsiteY61" fmla="*/ 1611658 h 1692902"/>
                  <a:gd name="connsiteX62" fmla="*/ 1277188 w 1881147"/>
                  <a:gd name="connsiteY62" fmla="*/ 1616275 h 1692902"/>
                  <a:gd name="connsiteX63" fmla="*/ 1311230 w 1881147"/>
                  <a:gd name="connsiteY63" fmla="*/ 1682752 h 1692902"/>
                  <a:gd name="connsiteX64" fmla="*/ 1367786 w 1881147"/>
                  <a:gd name="connsiteY64" fmla="*/ 1659283 h 1692902"/>
                  <a:gd name="connsiteX65" fmla="*/ 1419818 w 1881147"/>
                  <a:gd name="connsiteY65" fmla="*/ 1603162 h 1692902"/>
                  <a:gd name="connsiteX66" fmla="*/ 1470595 w 1881147"/>
                  <a:gd name="connsiteY66" fmla="*/ 1586619 h 1692902"/>
                  <a:gd name="connsiteX67" fmla="*/ 1488274 w 1881147"/>
                  <a:gd name="connsiteY67" fmla="*/ 1642441 h 1692902"/>
                  <a:gd name="connsiteX68" fmla="*/ 1558169 w 1881147"/>
                  <a:gd name="connsiteY68" fmla="*/ 1616763 h 1692902"/>
                  <a:gd name="connsiteX69" fmla="*/ 1588947 w 1881147"/>
                  <a:gd name="connsiteY69" fmla="*/ 1530007 h 1692902"/>
                  <a:gd name="connsiteX70" fmla="*/ 1670383 w 1881147"/>
                  <a:gd name="connsiteY70" fmla="*/ 1439865 h 1692902"/>
                  <a:gd name="connsiteX71" fmla="*/ 1714974 w 1881147"/>
                  <a:gd name="connsiteY71" fmla="*/ 1408735 h 1692902"/>
                  <a:gd name="connsiteX72" fmla="*/ 1743343 w 1881147"/>
                  <a:gd name="connsiteY72" fmla="*/ 1412030 h 1692902"/>
                  <a:gd name="connsiteX73" fmla="*/ 1820935 w 1881147"/>
                  <a:gd name="connsiteY73" fmla="*/ 1401422 h 1692902"/>
                  <a:gd name="connsiteX74" fmla="*/ 1816054 w 1881147"/>
                  <a:gd name="connsiteY74" fmla="*/ 1454986 h 1692902"/>
                  <a:gd name="connsiteX75" fmla="*/ 1874221 w 1881147"/>
                  <a:gd name="connsiteY75" fmla="*/ 1478307 h 1692902"/>
                  <a:gd name="connsiteX76" fmla="*/ 1875829 w 1881147"/>
                  <a:gd name="connsiteY76" fmla="*/ 1455673 h 1692902"/>
                  <a:gd name="connsiteX77" fmla="*/ 1875051 w 1881147"/>
                  <a:gd name="connsiteY77" fmla="*/ 1394939 h 1692902"/>
                  <a:gd name="connsiteX78" fmla="*/ 1853086 w 1881147"/>
                  <a:gd name="connsiteY78" fmla="*/ 1304796 h 1692902"/>
                  <a:gd name="connsiteX79" fmla="*/ 1853086 w 1881147"/>
                  <a:gd name="connsiteY79" fmla="*/ 1247646 h 1692902"/>
                  <a:gd name="connsiteX80" fmla="*/ 1810224 w 1881147"/>
                  <a:gd name="connsiteY80" fmla="*/ 1238121 h 1692902"/>
                  <a:gd name="connsiteX81" fmla="*/ 1734024 w 1881147"/>
                  <a:gd name="connsiteY81" fmla="*/ 1157158 h 1692902"/>
                  <a:gd name="connsiteX82" fmla="*/ 1695924 w 1881147"/>
                  <a:gd name="connsiteY82" fmla="*/ 976183 h 1692902"/>
                  <a:gd name="connsiteX83" fmla="*/ 1643536 w 1881147"/>
                  <a:gd name="connsiteY83" fmla="*/ 942846 h 1692902"/>
                  <a:gd name="connsiteX84" fmla="*/ 1605436 w 1881147"/>
                  <a:gd name="connsiteY84" fmla="*/ 885696 h 1692902"/>
                  <a:gd name="connsiteX85" fmla="*/ 1557811 w 1881147"/>
                  <a:gd name="connsiteY85" fmla="*/ 838071 h 1692902"/>
                  <a:gd name="connsiteX86" fmla="*/ 1505424 w 1881147"/>
                  <a:gd name="connsiteY86" fmla="*/ 819021 h 1692902"/>
                  <a:gd name="connsiteX87" fmla="*/ 1453036 w 1881147"/>
                  <a:gd name="connsiteY87" fmla="*/ 814258 h 1692902"/>
                  <a:gd name="connsiteX88" fmla="*/ 1510186 w 1881147"/>
                  <a:gd name="connsiteY88" fmla="*/ 780921 h 1692902"/>
                  <a:gd name="connsiteX89" fmla="*/ 1476849 w 1881147"/>
                  <a:gd name="connsiteY89" fmla="*/ 747583 h 1692902"/>
                  <a:gd name="connsiteX90" fmla="*/ 1481611 w 1881147"/>
                  <a:gd name="connsiteY90" fmla="*/ 723771 h 1692902"/>
                  <a:gd name="connsiteX91" fmla="*/ 1572099 w 1881147"/>
                  <a:gd name="connsiteY91" fmla="*/ 761871 h 1692902"/>
                  <a:gd name="connsiteX92" fmla="*/ 1624486 w 1881147"/>
                  <a:gd name="connsiteY92" fmla="*/ 695196 h 1692902"/>
                  <a:gd name="connsiteX93" fmla="*/ 1622283 w 1881147"/>
                  <a:gd name="connsiteY93" fmla="*/ 552321 h 1692902"/>
                  <a:gd name="connsiteX94" fmla="*/ 1639486 w 1881147"/>
                  <a:gd name="connsiteY94" fmla="*/ 403995 h 1692902"/>
                  <a:gd name="connsiteX0" fmla="*/ 1639486 w 1881147"/>
                  <a:gd name="connsiteY0" fmla="*/ 410678 h 1699585"/>
                  <a:gd name="connsiteX1" fmla="*/ 1567336 w 1881147"/>
                  <a:gd name="connsiteY1" fmla="*/ 378029 h 1699585"/>
                  <a:gd name="connsiteX2" fmla="*/ 1477087 w 1881147"/>
                  <a:gd name="connsiteY2" fmla="*/ 354216 h 1699585"/>
                  <a:gd name="connsiteX3" fmla="*/ 1423767 w 1881147"/>
                  <a:gd name="connsiteY3" fmla="*/ 277132 h 1699585"/>
                  <a:gd name="connsiteX4" fmla="*/ 1400666 w 1881147"/>
                  <a:gd name="connsiteY4" fmla="*/ 175287 h 1699585"/>
                  <a:gd name="connsiteX5" fmla="*/ 1364769 w 1881147"/>
                  <a:gd name="connsiteY5" fmla="*/ 7225 h 1699585"/>
                  <a:gd name="connsiteX6" fmla="*/ 1297400 w 1881147"/>
                  <a:gd name="connsiteY6" fmla="*/ 48923 h 1699585"/>
                  <a:gd name="connsiteX7" fmla="*/ 1291832 w 1881147"/>
                  <a:gd name="connsiteY7" fmla="*/ 106446 h 1699585"/>
                  <a:gd name="connsiteX8" fmla="*/ 1275927 w 1881147"/>
                  <a:gd name="connsiteY8" fmla="*/ 157659 h 1699585"/>
                  <a:gd name="connsiteX9" fmla="*/ 1214911 w 1881147"/>
                  <a:gd name="connsiteY9" fmla="*/ 163716 h 1699585"/>
                  <a:gd name="connsiteX10" fmla="*/ 1186336 w 1881147"/>
                  <a:gd name="connsiteY10" fmla="*/ 192291 h 1699585"/>
                  <a:gd name="connsiteX11" fmla="*/ 1176811 w 1881147"/>
                  <a:gd name="connsiteY11" fmla="*/ 263729 h 1699585"/>
                  <a:gd name="connsiteX12" fmla="*/ 1114899 w 1881147"/>
                  <a:gd name="connsiteY12" fmla="*/ 306591 h 1699585"/>
                  <a:gd name="connsiteX13" fmla="*/ 1005361 w 1881147"/>
                  <a:gd name="connsiteY13" fmla="*/ 320879 h 1699585"/>
                  <a:gd name="connsiteX14" fmla="*/ 962499 w 1881147"/>
                  <a:gd name="connsiteY14" fmla="*/ 363741 h 1699585"/>
                  <a:gd name="connsiteX15" fmla="*/ 838674 w 1881147"/>
                  <a:gd name="connsiteY15" fmla="*/ 363741 h 1699585"/>
                  <a:gd name="connsiteX16" fmla="*/ 781524 w 1881147"/>
                  <a:gd name="connsiteY16" fmla="*/ 435179 h 1699585"/>
                  <a:gd name="connsiteX17" fmla="*/ 781524 w 1881147"/>
                  <a:gd name="connsiteY17" fmla="*/ 468516 h 1699585"/>
                  <a:gd name="connsiteX18" fmla="*/ 743424 w 1881147"/>
                  <a:gd name="connsiteY18" fmla="*/ 492329 h 1699585"/>
                  <a:gd name="connsiteX19" fmla="*/ 671986 w 1881147"/>
                  <a:gd name="connsiteY19" fmla="*/ 425654 h 1699585"/>
                  <a:gd name="connsiteX20" fmla="*/ 519586 w 1881147"/>
                  <a:gd name="connsiteY20" fmla="*/ 420891 h 1699585"/>
                  <a:gd name="connsiteX21" fmla="*/ 457674 w 1881147"/>
                  <a:gd name="connsiteY21" fmla="*/ 439941 h 1699585"/>
                  <a:gd name="connsiteX22" fmla="*/ 419574 w 1881147"/>
                  <a:gd name="connsiteY22" fmla="*/ 425654 h 1699585"/>
                  <a:gd name="connsiteX23" fmla="*/ 400524 w 1881147"/>
                  <a:gd name="connsiteY23" fmla="*/ 363741 h 1699585"/>
                  <a:gd name="connsiteX24" fmla="*/ 333849 w 1881147"/>
                  <a:gd name="connsiteY24" fmla="*/ 311354 h 1699585"/>
                  <a:gd name="connsiteX25" fmla="*/ 286224 w 1881147"/>
                  <a:gd name="connsiteY25" fmla="*/ 244679 h 1699585"/>
                  <a:gd name="connsiteX26" fmla="*/ 143349 w 1881147"/>
                  <a:gd name="connsiteY26" fmla="*/ 263729 h 1699585"/>
                  <a:gd name="connsiteX27" fmla="*/ 124299 w 1881147"/>
                  <a:gd name="connsiteY27" fmla="*/ 339929 h 1699585"/>
                  <a:gd name="connsiteX28" fmla="*/ 110011 w 1881147"/>
                  <a:gd name="connsiteY28" fmla="*/ 373266 h 1699585"/>
                  <a:gd name="connsiteX29" fmla="*/ 133824 w 1881147"/>
                  <a:gd name="connsiteY29" fmla="*/ 420891 h 1699585"/>
                  <a:gd name="connsiteX30" fmla="*/ 81436 w 1881147"/>
                  <a:gd name="connsiteY30" fmla="*/ 458991 h 1699585"/>
                  <a:gd name="connsiteX31" fmla="*/ 33811 w 1881147"/>
                  <a:gd name="connsiteY31" fmla="*/ 454229 h 1699585"/>
                  <a:gd name="connsiteX32" fmla="*/ 33811 w 1881147"/>
                  <a:gd name="connsiteY32" fmla="*/ 525666 h 1699585"/>
                  <a:gd name="connsiteX33" fmla="*/ 474 w 1881147"/>
                  <a:gd name="connsiteY33" fmla="*/ 630441 h 1699585"/>
                  <a:gd name="connsiteX34" fmla="*/ 62386 w 1881147"/>
                  <a:gd name="connsiteY34" fmla="*/ 706641 h 1699585"/>
                  <a:gd name="connsiteX35" fmla="*/ 111977 w 1881147"/>
                  <a:gd name="connsiteY35" fmla="*/ 686903 h 1699585"/>
                  <a:gd name="connsiteX36" fmla="*/ 112334 w 1881147"/>
                  <a:gd name="connsiteY36" fmla="*/ 757162 h 1699585"/>
                  <a:gd name="connsiteX37" fmla="*/ 167161 w 1881147"/>
                  <a:gd name="connsiteY37" fmla="*/ 787604 h 1699585"/>
                  <a:gd name="connsiteX38" fmla="*/ 236159 w 1881147"/>
                  <a:gd name="connsiteY38" fmla="*/ 797816 h 1699585"/>
                  <a:gd name="connsiteX39" fmla="*/ 271462 w 1881147"/>
                  <a:gd name="connsiteY39" fmla="*/ 853787 h 1699585"/>
                  <a:gd name="connsiteX40" fmla="*/ 270869 w 1881147"/>
                  <a:gd name="connsiteY40" fmla="*/ 898859 h 1699585"/>
                  <a:gd name="connsiteX41" fmla="*/ 295393 w 1881147"/>
                  <a:gd name="connsiteY41" fmla="*/ 938334 h 1699585"/>
                  <a:gd name="connsiteX42" fmla="*/ 341051 w 1881147"/>
                  <a:gd name="connsiteY42" fmla="*/ 976926 h 1699585"/>
                  <a:gd name="connsiteX43" fmla="*/ 426184 w 1881147"/>
                  <a:gd name="connsiteY43" fmla="*/ 1031178 h 1699585"/>
                  <a:gd name="connsiteX44" fmla="*/ 461961 w 1881147"/>
                  <a:gd name="connsiteY44" fmla="*/ 1102271 h 1699585"/>
                  <a:gd name="connsiteX45" fmla="*/ 441064 w 1881147"/>
                  <a:gd name="connsiteY45" fmla="*/ 1171844 h 1699585"/>
                  <a:gd name="connsiteX46" fmla="*/ 519111 w 1881147"/>
                  <a:gd name="connsiteY46" fmla="*/ 1228307 h 1699585"/>
                  <a:gd name="connsiteX47" fmla="*/ 591143 w 1881147"/>
                  <a:gd name="connsiteY47" fmla="*/ 1261301 h 1699585"/>
                  <a:gd name="connsiteX48" fmla="*/ 571974 w 1881147"/>
                  <a:gd name="connsiteY48" fmla="*/ 1321004 h 1699585"/>
                  <a:gd name="connsiteX49" fmla="*/ 662461 w 1881147"/>
                  <a:gd name="connsiteY49" fmla="*/ 1473404 h 1699585"/>
                  <a:gd name="connsiteX50" fmla="*/ 755271 w 1881147"/>
                  <a:gd name="connsiteY50" fmla="*/ 1546558 h 1699585"/>
                  <a:gd name="connsiteX51" fmla="*/ 805336 w 1881147"/>
                  <a:gd name="connsiteY51" fmla="*/ 1497216 h 1699585"/>
                  <a:gd name="connsiteX52" fmla="*/ 869926 w 1881147"/>
                  <a:gd name="connsiteY52" fmla="*/ 1524613 h 1699585"/>
                  <a:gd name="connsiteX53" fmla="*/ 924399 w 1881147"/>
                  <a:gd name="connsiteY53" fmla="*/ 1492454 h 1699585"/>
                  <a:gd name="connsiteX54" fmla="*/ 941246 w 1881147"/>
                  <a:gd name="connsiteY54" fmla="*/ 1450278 h 1699585"/>
                  <a:gd name="connsiteX55" fmla="*/ 1005123 w 1881147"/>
                  <a:gd name="connsiteY55" fmla="*/ 1536690 h 1699585"/>
                  <a:gd name="connsiteX56" fmla="*/ 1050190 w 1881147"/>
                  <a:gd name="connsiteY56" fmla="*/ 1607784 h 1699585"/>
                  <a:gd name="connsiteX57" fmla="*/ 1120136 w 1881147"/>
                  <a:gd name="connsiteY57" fmla="*/ 1699303 h 1699585"/>
                  <a:gd name="connsiteX58" fmla="*/ 1151034 w 1881147"/>
                  <a:gd name="connsiteY58" fmla="*/ 1636212 h 1699585"/>
                  <a:gd name="connsiteX59" fmla="*/ 1181693 w 1881147"/>
                  <a:gd name="connsiteY59" fmla="*/ 1629732 h 1699585"/>
                  <a:gd name="connsiteX60" fmla="*/ 1224792 w 1881147"/>
                  <a:gd name="connsiteY60" fmla="*/ 1658995 h 1699585"/>
                  <a:gd name="connsiteX61" fmla="*/ 1258367 w 1881147"/>
                  <a:gd name="connsiteY61" fmla="*/ 1618341 h 1699585"/>
                  <a:gd name="connsiteX62" fmla="*/ 1277188 w 1881147"/>
                  <a:gd name="connsiteY62" fmla="*/ 1622958 h 1699585"/>
                  <a:gd name="connsiteX63" fmla="*/ 1311230 w 1881147"/>
                  <a:gd name="connsiteY63" fmla="*/ 1689435 h 1699585"/>
                  <a:gd name="connsiteX64" fmla="*/ 1367786 w 1881147"/>
                  <a:gd name="connsiteY64" fmla="*/ 1665966 h 1699585"/>
                  <a:gd name="connsiteX65" fmla="*/ 1419818 w 1881147"/>
                  <a:gd name="connsiteY65" fmla="*/ 1609845 h 1699585"/>
                  <a:gd name="connsiteX66" fmla="*/ 1470595 w 1881147"/>
                  <a:gd name="connsiteY66" fmla="*/ 1593302 h 1699585"/>
                  <a:gd name="connsiteX67" fmla="*/ 1488274 w 1881147"/>
                  <a:gd name="connsiteY67" fmla="*/ 1649124 h 1699585"/>
                  <a:gd name="connsiteX68" fmla="*/ 1558169 w 1881147"/>
                  <a:gd name="connsiteY68" fmla="*/ 1623446 h 1699585"/>
                  <a:gd name="connsiteX69" fmla="*/ 1588947 w 1881147"/>
                  <a:gd name="connsiteY69" fmla="*/ 1536690 h 1699585"/>
                  <a:gd name="connsiteX70" fmla="*/ 1670383 w 1881147"/>
                  <a:gd name="connsiteY70" fmla="*/ 1446548 h 1699585"/>
                  <a:gd name="connsiteX71" fmla="*/ 1714974 w 1881147"/>
                  <a:gd name="connsiteY71" fmla="*/ 1415418 h 1699585"/>
                  <a:gd name="connsiteX72" fmla="*/ 1743343 w 1881147"/>
                  <a:gd name="connsiteY72" fmla="*/ 1418713 h 1699585"/>
                  <a:gd name="connsiteX73" fmla="*/ 1820935 w 1881147"/>
                  <a:gd name="connsiteY73" fmla="*/ 1408105 h 1699585"/>
                  <a:gd name="connsiteX74" fmla="*/ 1816054 w 1881147"/>
                  <a:gd name="connsiteY74" fmla="*/ 1461669 h 1699585"/>
                  <a:gd name="connsiteX75" fmla="*/ 1874221 w 1881147"/>
                  <a:gd name="connsiteY75" fmla="*/ 1484990 h 1699585"/>
                  <a:gd name="connsiteX76" fmla="*/ 1875829 w 1881147"/>
                  <a:gd name="connsiteY76" fmla="*/ 1462356 h 1699585"/>
                  <a:gd name="connsiteX77" fmla="*/ 1875051 w 1881147"/>
                  <a:gd name="connsiteY77" fmla="*/ 1401622 h 1699585"/>
                  <a:gd name="connsiteX78" fmla="*/ 1853086 w 1881147"/>
                  <a:gd name="connsiteY78" fmla="*/ 1311479 h 1699585"/>
                  <a:gd name="connsiteX79" fmla="*/ 1853086 w 1881147"/>
                  <a:gd name="connsiteY79" fmla="*/ 1254329 h 1699585"/>
                  <a:gd name="connsiteX80" fmla="*/ 1810224 w 1881147"/>
                  <a:gd name="connsiteY80" fmla="*/ 1244804 h 1699585"/>
                  <a:gd name="connsiteX81" fmla="*/ 1734024 w 1881147"/>
                  <a:gd name="connsiteY81" fmla="*/ 1163841 h 1699585"/>
                  <a:gd name="connsiteX82" fmla="*/ 1695924 w 1881147"/>
                  <a:gd name="connsiteY82" fmla="*/ 982866 h 1699585"/>
                  <a:gd name="connsiteX83" fmla="*/ 1643536 w 1881147"/>
                  <a:gd name="connsiteY83" fmla="*/ 949529 h 1699585"/>
                  <a:gd name="connsiteX84" fmla="*/ 1605436 w 1881147"/>
                  <a:gd name="connsiteY84" fmla="*/ 892379 h 1699585"/>
                  <a:gd name="connsiteX85" fmla="*/ 1557811 w 1881147"/>
                  <a:gd name="connsiteY85" fmla="*/ 844754 h 1699585"/>
                  <a:gd name="connsiteX86" fmla="*/ 1505424 w 1881147"/>
                  <a:gd name="connsiteY86" fmla="*/ 825704 h 1699585"/>
                  <a:gd name="connsiteX87" fmla="*/ 1453036 w 1881147"/>
                  <a:gd name="connsiteY87" fmla="*/ 820941 h 1699585"/>
                  <a:gd name="connsiteX88" fmla="*/ 1510186 w 1881147"/>
                  <a:gd name="connsiteY88" fmla="*/ 787604 h 1699585"/>
                  <a:gd name="connsiteX89" fmla="*/ 1476849 w 1881147"/>
                  <a:gd name="connsiteY89" fmla="*/ 754266 h 1699585"/>
                  <a:gd name="connsiteX90" fmla="*/ 1481611 w 1881147"/>
                  <a:gd name="connsiteY90" fmla="*/ 730454 h 1699585"/>
                  <a:gd name="connsiteX91" fmla="*/ 1572099 w 1881147"/>
                  <a:gd name="connsiteY91" fmla="*/ 768554 h 1699585"/>
                  <a:gd name="connsiteX92" fmla="*/ 1624486 w 1881147"/>
                  <a:gd name="connsiteY92" fmla="*/ 701879 h 1699585"/>
                  <a:gd name="connsiteX93" fmla="*/ 1622283 w 1881147"/>
                  <a:gd name="connsiteY93" fmla="*/ 559004 h 1699585"/>
                  <a:gd name="connsiteX94" fmla="*/ 1639486 w 1881147"/>
                  <a:gd name="connsiteY94" fmla="*/ 410678 h 1699585"/>
                  <a:gd name="connsiteX0" fmla="*/ 1639486 w 1881147"/>
                  <a:gd name="connsiteY0" fmla="*/ 419377 h 1708284"/>
                  <a:gd name="connsiteX1" fmla="*/ 1567336 w 1881147"/>
                  <a:gd name="connsiteY1" fmla="*/ 386728 h 1708284"/>
                  <a:gd name="connsiteX2" fmla="*/ 1477087 w 1881147"/>
                  <a:gd name="connsiteY2" fmla="*/ 362915 h 1708284"/>
                  <a:gd name="connsiteX3" fmla="*/ 1423767 w 1881147"/>
                  <a:gd name="connsiteY3" fmla="*/ 285831 h 1708284"/>
                  <a:gd name="connsiteX4" fmla="*/ 1400666 w 1881147"/>
                  <a:gd name="connsiteY4" fmla="*/ 183986 h 1708284"/>
                  <a:gd name="connsiteX5" fmla="*/ 1364769 w 1881147"/>
                  <a:gd name="connsiteY5" fmla="*/ 15924 h 1708284"/>
                  <a:gd name="connsiteX6" fmla="*/ 1297400 w 1881147"/>
                  <a:gd name="connsiteY6" fmla="*/ 57622 h 1708284"/>
                  <a:gd name="connsiteX7" fmla="*/ 1291832 w 1881147"/>
                  <a:gd name="connsiteY7" fmla="*/ 115145 h 1708284"/>
                  <a:gd name="connsiteX8" fmla="*/ 1275927 w 1881147"/>
                  <a:gd name="connsiteY8" fmla="*/ 166358 h 1708284"/>
                  <a:gd name="connsiteX9" fmla="*/ 1214911 w 1881147"/>
                  <a:gd name="connsiteY9" fmla="*/ 172415 h 1708284"/>
                  <a:gd name="connsiteX10" fmla="*/ 1186336 w 1881147"/>
                  <a:gd name="connsiteY10" fmla="*/ 200990 h 1708284"/>
                  <a:gd name="connsiteX11" fmla="*/ 1176811 w 1881147"/>
                  <a:gd name="connsiteY11" fmla="*/ 272428 h 1708284"/>
                  <a:gd name="connsiteX12" fmla="*/ 1114899 w 1881147"/>
                  <a:gd name="connsiteY12" fmla="*/ 315290 h 1708284"/>
                  <a:gd name="connsiteX13" fmla="*/ 1005361 w 1881147"/>
                  <a:gd name="connsiteY13" fmla="*/ 329578 h 1708284"/>
                  <a:gd name="connsiteX14" fmla="*/ 962499 w 1881147"/>
                  <a:gd name="connsiteY14" fmla="*/ 372440 h 1708284"/>
                  <a:gd name="connsiteX15" fmla="*/ 838674 w 1881147"/>
                  <a:gd name="connsiteY15" fmla="*/ 372440 h 1708284"/>
                  <a:gd name="connsiteX16" fmla="*/ 781524 w 1881147"/>
                  <a:gd name="connsiteY16" fmla="*/ 443878 h 1708284"/>
                  <a:gd name="connsiteX17" fmla="*/ 781524 w 1881147"/>
                  <a:gd name="connsiteY17" fmla="*/ 477215 h 1708284"/>
                  <a:gd name="connsiteX18" fmla="*/ 743424 w 1881147"/>
                  <a:gd name="connsiteY18" fmla="*/ 501028 h 1708284"/>
                  <a:gd name="connsiteX19" fmla="*/ 671986 w 1881147"/>
                  <a:gd name="connsiteY19" fmla="*/ 434353 h 1708284"/>
                  <a:gd name="connsiteX20" fmla="*/ 519586 w 1881147"/>
                  <a:gd name="connsiteY20" fmla="*/ 429590 h 1708284"/>
                  <a:gd name="connsiteX21" fmla="*/ 457674 w 1881147"/>
                  <a:gd name="connsiteY21" fmla="*/ 448640 h 1708284"/>
                  <a:gd name="connsiteX22" fmla="*/ 419574 w 1881147"/>
                  <a:gd name="connsiteY22" fmla="*/ 434353 h 1708284"/>
                  <a:gd name="connsiteX23" fmla="*/ 400524 w 1881147"/>
                  <a:gd name="connsiteY23" fmla="*/ 372440 h 1708284"/>
                  <a:gd name="connsiteX24" fmla="*/ 333849 w 1881147"/>
                  <a:gd name="connsiteY24" fmla="*/ 320053 h 1708284"/>
                  <a:gd name="connsiteX25" fmla="*/ 286224 w 1881147"/>
                  <a:gd name="connsiteY25" fmla="*/ 253378 h 1708284"/>
                  <a:gd name="connsiteX26" fmla="*/ 143349 w 1881147"/>
                  <a:gd name="connsiteY26" fmla="*/ 272428 h 1708284"/>
                  <a:gd name="connsiteX27" fmla="*/ 124299 w 1881147"/>
                  <a:gd name="connsiteY27" fmla="*/ 348628 h 1708284"/>
                  <a:gd name="connsiteX28" fmla="*/ 110011 w 1881147"/>
                  <a:gd name="connsiteY28" fmla="*/ 381965 h 1708284"/>
                  <a:gd name="connsiteX29" fmla="*/ 133824 w 1881147"/>
                  <a:gd name="connsiteY29" fmla="*/ 429590 h 1708284"/>
                  <a:gd name="connsiteX30" fmla="*/ 81436 w 1881147"/>
                  <a:gd name="connsiteY30" fmla="*/ 467690 h 1708284"/>
                  <a:gd name="connsiteX31" fmla="*/ 33811 w 1881147"/>
                  <a:gd name="connsiteY31" fmla="*/ 462928 h 1708284"/>
                  <a:gd name="connsiteX32" fmla="*/ 33811 w 1881147"/>
                  <a:gd name="connsiteY32" fmla="*/ 534365 h 1708284"/>
                  <a:gd name="connsiteX33" fmla="*/ 474 w 1881147"/>
                  <a:gd name="connsiteY33" fmla="*/ 639140 h 1708284"/>
                  <a:gd name="connsiteX34" fmla="*/ 62386 w 1881147"/>
                  <a:gd name="connsiteY34" fmla="*/ 715340 h 1708284"/>
                  <a:gd name="connsiteX35" fmla="*/ 111977 w 1881147"/>
                  <a:gd name="connsiteY35" fmla="*/ 695602 h 1708284"/>
                  <a:gd name="connsiteX36" fmla="*/ 112334 w 1881147"/>
                  <a:gd name="connsiteY36" fmla="*/ 765861 h 1708284"/>
                  <a:gd name="connsiteX37" fmla="*/ 167161 w 1881147"/>
                  <a:gd name="connsiteY37" fmla="*/ 796303 h 1708284"/>
                  <a:gd name="connsiteX38" fmla="*/ 236159 w 1881147"/>
                  <a:gd name="connsiteY38" fmla="*/ 806515 h 1708284"/>
                  <a:gd name="connsiteX39" fmla="*/ 271462 w 1881147"/>
                  <a:gd name="connsiteY39" fmla="*/ 862486 h 1708284"/>
                  <a:gd name="connsiteX40" fmla="*/ 270869 w 1881147"/>
                  <a:gd name="connsiteY40" fmla="*/ 907558 h 1708284"/>
                  <a:gd name="connsiteX41" fmla="*/ 295393 w 1881147"/>
                  <a:gd name="connsiteY41" fmla="*/ 947033 h 1708284"/>
                  <a:gd name="connsiteX42" fmla="*/ 341051 w 1881147"/>
                  <a:gd name="connsiteY42" fmla="*/ 985625 h 1708284"/>
                  <a:gd name="connsiteX43" fmla="*/ 426184 w 1881147"/>
                  <a:gd name="connsiteY43" fmla="*/ 1039877 h 1708284"/>
                  <a:gd name="connsiteX44" fmla="*/ 461961 w 1881147"/>
                  <a:gd name="connsiteY44" fmla="*/ 1110970 h 1708284"/>
                  <a:gd name="connsiteX45" fmla="*/ 441064 w 1881147"/>
                  <a:gd name="connsiteY45" fmla="*/ 1180543 h 1708284"/>
                  <a:gd name="connsiteX46" fmla="*/ 519111 w 1881147"/>
                  <a:gd name="connsiteY46" fmla="*/ 1237006 h 1708284"/>
                  <a:gd name="connsiteX47" fmla="*/ 591143 w 1881147"/>
                  <a:gd name="connsiteY47" fmla="*/ 1270000 h 1708284"/>
                  <a:gd name="connsiteX48" fmla="*/ 571974 w 1881147"/>
                  <a:gd name="connsiteY48" fmla="*/ 1329703 h 1708284"/>
                  <a:gd name="connsiteX49" fmla="*/ 662461 w 1881147"/>
                  <a:gd name="connsiteY49" fmla="*/ 1482103 h 1708284"/>
                  <a:gd name="connsiteX50" fmla="*/ 755271 w 1881147"/>
                  <a:gd name="connsiteY50" fmla="*/ 1555257 h 1708284"/>
                  <a:gd name="connsiteX51" fmla="*/ 805336 w 1881147"/>
                  <a:gd name="connsiteY51" fmla="*/ 1505915 h 1708284"/>
                  <a:gd name="connsiteX52" fmla="*/ 869926 w 1881147"/>
                  <a:gd name="connsiteY52" fmla="*/ 1533312 h 1708284"/>
                  <a:gd name="connsiteX53" fmla="*/ 924399 w 1881147"/>
                  <a:gd name="connsiteY53" fmla="*/ 1501153 h 1708284"/>
                  <a:gd name="connsiteX54" fmla="*/ 941246 w 1881147"/>
                  <a:gd name="connsiteY54" fmla="*/ 1458977 h 1708284"/>
                  <a:gd name="connsiteX55" fmla="*/ 1005123 w 1881147"/>
                  <a:gd name="connsiteY55" fmla="*/ 1545389 h 1708284"/>
                  <a:gd name="connsiteX56" fmla="*/ 1050190 w 1881147"/>
                  <a:gd name="connsiteY56" fmla="*/ 1616483 h 1708284"/>
                  <a:gd name="connsiteX57" fmla="*/ 1120136 w 1881147"/>
                  <a:gd name="connsiteY57" fmla="*/ 1708002 h 1708284"/>
                  <a:gd name="connsiteX58" fmla="*/ 1151034 w 1881147"/>
                  <a:gd name="connsiteY58" fmla="*/ 1644911 h 1708284"/>
                  <a:gd name="connsiteX59" fmla="*/ 1181693 w 1881147"/>
                  <a:gd name="connsiteY59" fmla="*/ 1638431 h 1708284"/>
                  <a:gd name="connsiteX60" fmla="*/ 1224792 w 1881147"/>
                  <a:gd name="connsiteY60" fmla="*/ 1667694 h 1708284"/>
                  <a:gd name="connsiteX61" fmla="*/ 1258367 w 1881147"/>
                  <a:gd name="connsiteY61" fmla="*/ 1627040 h 1708284"/>
                  <a:gd name="connsiteX62" fmla="*/ 1277188 w 1881147"/>
                  <a:gd name="connsiteY62" fmla="*/ 1631657 h 1708284"/>
                  <a:gd name="connsiteX63" fmla="*/ 1311230 w 1881147"/>
                  <a:gd name="connsiteY63" fmla="*/ 1698134 h 1708284"/>
                  <a:gd name="connsiteX64" fmla="*/ 1367786 w 1881147"/>
                  <a:gd name="connsiteY64" fmla="*/ 1674665 h 1708284"/>
                  <a:gd name="connsiteX65" fmla="*/ 1419818 w 1881147"/>
                  <a:gd name="connsiteY65" fmla="*/ 1618544 h 1708284"/>
                  <a:gd name="connsiteX66" fmla="*/ 1470595 w 1881147"/>
                  <a:gd name="connsiteY66" fmla="*/ 1602001 h 1708284"/>
                  <a:gd name="connsiteX67" fmla="*/ 1488274 w 1881147"/>
                  <a:gd name="connsiteY67" fmla="*/ 1657823 h 1708284"/>
                  <a:gd name="connsiteX68" fmla="*/ 1558169 w 1881147"/>
                  <a:gd name="connsiteY68" fmla="*/ 1632145 h 1708284"/>
                  <a:gd name="connsiteX69" fmla="*/ 1588947 w 1881147"/>
                  <a:gd name="connsiteY69" fmla="*/ 1545389 h 1708284"/>
                  <a:gd name="connsiteX70" fmla="*/ 1670383 w 1881147"/>
                  <a:gd name="connsiteY70" fmla="*/ 1455247 h 1708284"/>
                  <a:gd name="connsiteX71" fmla="*/ 1714974 w 1881147"/>
                  <a:gd name="connsiteY71" fmla="*/ 1424117 h 1708284"/>
                  <a:gd name="connsiteX72" fmla="*/ 1743343 w 1881147"/>
                  <a:gd name="connsiteY72" fmla="*/ 1427412 h 1708284"/>
                  <a:gd name="connsiteX73" fmla="*/ 1820935 w 1881147"/>
                  <a:gd name="connsiteY73" fmla="*/ 1416804 h 1708284"/>
                  <a:gd name="connsiteX74" fmla="*/ 1816054 w 1881147"/>
                  <a:gd name="connsiteY74" fmla="*/ 1470368 h 1708284"/>
                  <a:gd name="connsiteX75" fmla="*/ 1874221 w 1881147"/>
                  <a:gd name="connsiteY75" fmla="*/ 1493689 h 1708284"/>
                  <a:gd name="connsiteX76" fmla="*/ 1875829 w 1881147"/>
                  <a:gd name="connsiteY76" fmla="*/ 1471055 h 1708284"/>
                  <a:gd name="connsiteX77" fmla="*/ 1875051 w 1881147"/>
                  <a:gd name="connsiteY77" fmla="*/ 1410321 h 1708284"/>
                  <a:gd name="connsiteX78" fmla="*/ 1853086 w 1881147"/>
                  <a:gd name="connsiteY78" fmla="*/ 1320178 h 1708284"/>
                  <a:gd name="connsiteX79" fmla="*/ 1853086 w 1881147"/>
                  <a:gd name="connsiteY79" fmla="*/ 1263028 h 1708284"/>
                  <a:gd name="connsiteX80" fmla="*/ 1810224 w 1881147"/>
                  <a:gd name="connsiteY80" fmla="*/ 1253503 h 1708284"/>
                  <a:gd name="connsiteX81" fmla="*/ 1734024 w 1881147"/>
                  <a:gd name="connsiteY81" fmla="*/ 1172540 h 1708284"/>
                  <a:gd name="connsiteX82" fmla="*/ 1695924 w 1881147"/>
                  <a:gd name="connsiteY82" fmla="*/ 991565 h 1708284"/>
                  <a:gd name="connsiteX83" fmla="*/ 1643536 w 1881147"/>
                  <a:gd name="connsiteY83" fmla="*/ 958228 h 1708284"/>
                  <a:gd name="connsiteX84" fmla="*/ 1605436 w 1881147"/>
                  <a:gd name="connsiteY84" fmla="*/ 901078 h 1708284"/>
                  <a:gd name="connsiteX85" fmla="*/ 1557811 w 1881147"/>
                  <a:gd name="connsiteY85" fmla="*/ 853453 h 1708284"/>
                  <a:gd name="connsiteX86" fmla="*/ 1505424 w 1881147"/>
                  <a:gd name="connsiteY86" fmla="*/ 834403 h 1708284"/>
                  <a:gd name="connsiteX87" fmla="*/ 1453036 w 1881147"/>
                  <a:gd name="connsiteY87" fmla="*/ 829640 h 1708284"/>
                  <a:gd name="connsiteX88" fmla="*/ 1510186 w 1881147"/>
                  <a:gd name="connsiteY88" fmla="*/ 796303 h 1708284"/>
                  <a:gd name="connsiteX89" fmla="*/ 1476849 w 1881147"/>
                  <a:gd name="connsiteY89" fmla="*/ 762965 h 1708284"/>
                  <a:gd name="connsiteX90" fmla="*/ 1481611 w 1881147"/>
                  <a:gd name="connsiteY90" fmla="*/ 739153 h 1708284"/>
                  <a:gd name="connsiteX91" fmla="*/ 1572099 w 1881147"/>
                  <a:gd name="connsiteY91" fmla="*/ 777253 h 1708284"/>
                  <a:gd name="connsiteX92" fmla="*/ 1624486 w 1881147"/>
                  <a:gd name="connsiteY92" fmla="*/ 710578 h 1708284"/>
                  <a:gd name="connsiteX93" fmla="*/ 1622283 w 1881147"/>
                  <a:gd name="connsiteY93" fmla="*/ 567703 h 1708284"/>
                  <a:gd name="connsiteX94" fmla="*/ 1639486 w 1881147"/>
                  <a:gd name="connsiteY94" fmla="*/ 419377 h 1708284"/>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14911 w 1881147"/>
                  <a:gd name="connsiteY9" fmla="*/ 158360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186336 w 1881147"/>
                  <a:gd name="connsiteY10" fmla="*/ 186935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1520 w 1881147"/>
                  <a:gd name="connsiteY9" fmla="*/ 206869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6811 w 1881147"/>
                  <a:gd name="connsiteY11" fmla="*/ 25837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4899 w 1881147"/>
                  <a:gd name="connsiteY12" fmla="*/ 301235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74371 w 1881147"/>
                  <a:gd name="connsiteY11" fmla="*/ 29156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05361 w 1881147"/>
                  <a:gd name="connsiteY13" fmla="*/ 315523 h 1694229"/>
                  <a:gd name="connsiteX14" fmla="*/ 962499 w 1881147"/>
                  <a:gd name="connsiteY14" fmla="*/ 358385 h 1694229"/>
                  <a:gd name="connsiteX15" fmla="*/ 838674 w 1881147"/>
                  <a:gd name="connsiteY15" fmla="*/ 358385 h 1694229"/>
                  <a:gd name="connsiteX16" fmla="*/ 781524 w 1881147"/>
                  <a:gd name="connsiteY16" fmla="*/ 429823 h 1694229"/>
                  <a:gd name="connsiteX17" fmla="*/ 781524 w 1881147"/>
                  <a:gd name="connsiteY17" fmla="*/ 463160 h 1694229"/>
                  <a:gd name="connsiteX18" fmla="*/ 743424 w 1881147"/>
                  <a:gd name="connsiteY18" fmla="*/ 486973 h 1694229"/>
                  <a:gd name="connsiteX19" fmla="*/ 671986 w 1881147"/>
                  <a:gd name="connsiteY19" fmla="*/ 420298 h 1694229"/>
                  <a:gd name="connsiteX20" fmla="*/ 519586 w 1881147"/>
                  <a:gd name="connsiteY20" fmla="*/ 415535 h 1694229"/>
                  <a:gd name="connsiteX21" fmla="*/ 457674 w 1881147"/>
                  <a:gd name="connsiteY21" fmla="*/ 434585 h 1694229"/>
                  <a:gd name="connsiteX22" fmla="*/ 419574 w 1881147"/>
                  <a:gd name="connsiteY22" fmla="*/ 420298 h 1694229"/>
                  <a:gd name="connsiteX23" fmla="*/ 400524 w 1881147"/>
                  <a:gd name="connsiteY23" fmla="*/ 358385 h 1694229"/>
                  <a:gd name="connsiteX24" fmla="*/ 333849 w 1881147"/>
                  <a:gd name="connsiteY24" fmla="*/ 305998 h 1694229"/>
                  <a:gd name="connsiteX25" fmla="*/ 286224 w 1881147"/>
                  <a:gd name="connsiteY25" fmla="*/ 239323 h 1694229"/>
                  <a:gd name="connsiteX26" fmla="*/ 143349 w 1881147"/>
                  <a:gd name="connsiteY26" fmla="*/ 258373 h 1694229"/>
                  <a:gd name="connsiteX27" fmla="*/ 124299 w 1881147"/>
                  <a:gd name="connsiteY27" fmla="*/ 334573 h 1694229"/>
                  <a:gd name="connsiteX28" fmla="*/ 110011 w 1881147"/>
                  <a:gd name="connsiteY28" fmla="*/ 367910 h 1694229"/>
                  <a:gd name="connsiteX29" fmla="*/ 133824 w 1881147"/>
                  <a:gd name="connsiteY29" fmla="*/ 415535 h 1694229"/>
                  <a:gd name="connsiteX30" fmla="*/ 81436 w 1881147"/>
                  <a:gd name="connsiteY30" fmla="*/ 453635 h 1694229"/>
                  <a:gd name="connsiteX31" fmla="*/ 33811 w 1881147"/>
                  <a:gd name="connsiteY31" fmla="*/ 448873 h 1694229"/>
                  <a:gd name="connsiteX32" fmla="*/ 33811 w 1881147"/>
                  <a:gd name="connsiteY32" fmla="*/ 520310 h 1694229"/>
                  <a:gd name="connsiteX33" fmla="*/ 474 w 1881147"/>
                  <a:gd name="connsiteY33" fmla="*/ 625085 h 1694229"/>
                  <a:gd name="connsiteX34" fmla="*/ 62386 w 1881147"/>
                  <a:gd name="connsiteY34" fmla="*/ 701285 h 1694229"/>
                  <a:gd name="connsiteX35" fmla="*/ 111977 w 1881147"/>
                  <a:gd name="connsiteY35" fmla="*/ 681547 h 1694229"/>
                  <a:gd name="connsiteX36" fmla="*/ 112334 w 1881147"/>
                  <a:gd name="connsiteY36" fmla="*/ 751806 h 1694229"/>
                  <a:gd name="connsiteX37" fmla="*/ 167161 w 1881147"/>
                  <a:gd name="connsiteY37" fmla="*/ 782248 h 1694229"/>
                  <a:gd name="connsiteX38" fmla="*/ 236159 w 1881147"/>
                  <a:gd name="connsiteY38" fmla="*/ 792460 h 1694229"/>
                  <a:gd name="connsiteX39" fmla="*/ 271462 w 1881147"/>
                  <a:gd name="connsiteY39" fmla="*/ 848431 h 1694229"/>
                  <a:gd name="connsiteX40" fmla="*/ 270869 w 1881147"/>
                  <a:gd name="connsiteY40" fmla="*/ 893503 h 1694229"/>
                  <a:gd name="connsiteX41" fmla="*/ 295393 w 1881147"/>
                  <a:gd name="connsiteY41" fmla="*/ 932978 h 1694229"/>
                  <a:gd name="connsiteX42" fmla="*/ 341051 w 1881147"/>
                  <a:gd name="connsiteY42" fmla="*/ 971570 h 1694229"/>
                  <a:gd name="connsiteX43" fmla="*/ 426184 w 1881147"/>
                  <a:gd name="connsiteY43" fmla="*/ 1025822 h 1694229"/>
                  <a:gd name="connsiteX44" fmla="*/ 461961 w 1881147"/>
                  <a:gd name="connsiteY44" fmla="*/ 1096915 h 1694229"/>
                  <a:gd name="connsiteX45" fmla="*/ 441064 w 1881147"/>
                  <a:gd name="connsiteY45" fmla="*/ 1166488 h 1694229"/>
                  <a:gd name="connsiteX46" fmla="*/ 519111 w 1881147"/>
                  <a:gd name="connsiteY46" fmla="*/ 1222951 h 1694229"/>
                  <a:gd name="connsiteX47" fmla="*/ 591143 w 1881147"/>
                  <a:gd name="connsiteY47" fmla="*/ 1255945 h 1694229"/>
                  <a:gd name="connsiteX48" fmla="*/ 571974 w 1881147"/>
                  <a:gd name="connsiteY48" fmla="*/ 1315648 h 1694229"/>
                  <a:gd name="connsiteX49" fmla="*/ 662461 w 1881147"/>
                  <a:gd name="connsiteY49" fmla="*/ 1468048 h 1694229"/>
                  <a:gd name="connsiteX50" fmla="*/ 755271 w 1881147"/>
                  <a:gd name="connsiteY50" fmla="*/ 1541202 h 1694229"/>
                  <a:gd name="connsiteX51" fmla="*/ 805336 w 1881147"/>
                  <a:gd name="connsiteY51" fmla="*/ 1491860 h 1694229"/>
                  <a:gd name="connsiteX52" fmla="*/ 869926 w 1881147"/>
                  <a:gd name="connsiteY52" fmla="*/ 1519257 h 1694229"/>
                  <a:gd name="connsiteX53" fmla="*/ 924399 w 1881147"/>
                  <a:gd name="connsiteY53" fmla="*/ 1487098 h 1694229"/>
                  <a:gd name="connsiteX54" fmla="*/ 941246 w 1881147"/>
                  <a:gd name="connsiteY54" fmla="*/ 1444922 h 1694229"/>
                  <a:gd name="connsiteX55" fmla="*/ 1005123 w 1881147"/>
                  <a:gd name="connsiteY55" fmla="*/ 1531334 h 1694229"/>
                  <a:gd name="connsiteX56" fmla="*/ 1050190 w 1881147"/>
                  <a:gd name="connsiteY56" fmla="*/ 1602428 h 1694229"/>
                  <a:gd name="connsiteX57" fmla="*/ 1120136 w 1881147"/>
                  <a:gd name="connsiteY57" fmla="*/ 1693947 h 1694229"/>
                  <a:gd name="connsiteX58" fmla="*/ 1151034 w 1881147"/>
                  <a:gd name="connsiteY58" fmla="*/ 1630856 h 1694229"/>
                  <a:gd name="connsiteX59" fmla="*/ 1181693 w 1881147"/>
                  <a:gd name="connsiteY59" fmla="*/ 1624376 h 1694229"/>
                  <a:gd name="connsiteX60" fmla="*/ 1224792 w 1881147"/>
                  <a:gd name="connsiteY60" fmla="*/ 1653639 h 1694229"/>
                  <a:gd name="connsiteX61" fmla="*/ 1258367 w 1881147"/>
                  <a:gd name="connsiteY61" fmla="*/ 1612985 h 1694229"/>
                  <a:gd name="connsiteX62" fmla="*/ 1277188 w 1881147"/>
                  <a:gd name="connsiteY62" fmla="*/ 1617602 h 1694229"/>
                  <a:gd name="connsiteX63" fmla="*/ 1311230 w 1881147"/>
                  <a:gd name="connsiteY63" fmla="*/ 1684079 h 1694229"/>
                  <a:gd name="connsiteX64" fmla="*/ 1367786 w 1881147"/>
                  <a:gd name="connsiteY64" fmla="*/ 1660610 h 1694229"/>
                  <a:gd name="connsiteX65" fmla="*/ 1419818 w 1881147"/>
                  <a:gd name="connsiteY65" fmla="*/ 1604489 h 1694229"/>
                  <a:gd name="connsiteX66" fmla="*/ 1470595 w 1881147"/>
                  <a:gd name="connsiteY66" fmla="*/ 1587946 h 1694229"/>
                  <a:gd name="connsiteX67" fmla="*/ 1488274 w 1881147"/>
                  <a:gd name="connsiteY67" fmla="*/ 1643768 h 1694229"/>
                  <a:gd name="connsiteX68" fmla="*/ 1558169 w 1881147"/>
                  <a:gd name="connsiteY68" fmla="*/ 1618090 h 1694229"/>
                  <a:gd name="connsiteX69" fmla="*/ 1588947 w 1881147"/>
                  <a:gd name="connsiteY69" fmla="*/ 1531334 h 1694229"/>
                  <a:gd name="connsiteX70" fmla="*/ 1670383 w 1881147"/>
                  <a:gd name="connsiteY70" fmla="*/ 1441192 h 1694229"/>
                  <a:gd name="connsiteX71" fmla="*/ 1714974 w 1881147"/>
                  <a:gd name="connsiteY71" fmla="*/ 1410062 h 1694229"/>
                  <a:gd name="connsiteX72" fmla="*/ 1743343 w 1881147"/>
                  <a:gd name="connsiteY72" fmla="*/ 1413357 h 1694229"/>
                  <a:gd name="connsiteX73" fmla="*/ 1820935 w 1881147"/>
                  <a:gd name="connsiteY73" fmla="*/ 1402749 h 1694229"/>
                  <a:gd name="connsiteX74" fmla="*/ 1816054 w 1881147"/>
                  <a:gd name="connsiteY74" fmla="*/ 1456313 h 1694229"/>
                  <a:gd name="connsiteX75" fmla="*/ 1874221 w 1881147"/>
                  <a:gd name="connsiteY75" fmla="*/ 1479634 h 1694229"/>
                  <a:gd name="connsiteX76" fmla="*/ 1875829 w 1881147"/>
                  <a:gd name="connsiteY76" fmla="*/ 1457000 h 1694229"/>
                  <a:gd name="connsiteX77" fmla="*/ 1875051 w 1881147"/>
                  <a:gd name="connsiteY77" fmla="*/ 1396266 h 1694229"/>
                  <a:gd name="connsiteX78" fmla="*/ 1853086 w 1881147"/>
                  <a:gd name="connsiteY78" fmla="*/ 1306123 h 1694229"/>
                  <a:gd name="connsiteX79" fmla="*/ 1853086 w 1881147"/>
                  <a:gd name="connsiteY79" fmla="*/ 1248973 h 1694229"/>
                  <a:gd name="connsiteX80" fmla="*/ 1810224 w 1881147"/>
                  <a:gd name="connsiteY80" fmla="*/ 1239448 h 1694229"/>
                  <a:gd name="connsiteX81" fmla="*/ 1734024 w 1881147"/>
                  <a:gd name="connsiteY81" fmla="*/ 1158485 h 1694229"/>
                  <a:gd name="connsiteX82" fmla="*/ 1695924 w 1881147"/>
                  <a:gd name="connsiteY82" fmla="*/ 977510 h 1694229"/>
                  <a:gd name="connsiteX83" fmla="*/ 1643536 w 1881147"/>
                  <a:gd name="connsiteY83" fmla="*/ 944173 h 1694229"/>
                  <a:gd name="connsiteX84" fmla="*/ 1605436 w 1881147"/>
                  <a:gd name="connsiteY84" fmla="*/ 887023 h 1694229"/>
                  <a:gd name="connsiteX85" fmla="*/ 1557811 w 1881147"/>
                  <a:gd name="connsiteY85" fmla="*/ 839398 h 1694229"/>
                  <a:gd name="connsiteX86" fmla="*/ 1505424 w 1881147"/>
                  <a:gd name="connsiteY86" fmla="*/ 820348 h 1694229"/>
                  <a:gd name="connsiteX87" fmla="*/ 1453036 w 1881147"/>
                  <a:gd name="connsiteY87" fmla="*/ 815585 h 1694229"/>
                  <a:gd name="connsiteX88" fmla="*/ 1510186 w 1881147"/>
                  <a:gd name="connsiteY88" fmla="*/ 782248 h 1694229"/>
                  <a:gd name="connsiteX89" fmla="*/ 1476849 w 1881147"/>
                  <a:gd name="connsiteY89" fmla="*/ 748910 h 1694229"/>
                  <a:gd name="connsiteX90" fmla="*/ 1481611 w 1881147"/>
                  <a:gd name="connsiteY90" fmla="*/ 725098 h 1694229"/>
                  <a:gd name="connsiteX91" fmla="*/ 1572099 w 1881147"/>
                  <a:gd name="connsiteY91" fmla="*/ 763198 h 1694229"/>
                  <a:gd name="connsiteX92" fmla="*/ 1624486 w 1881147"/>
                  <a:gd name="connsiteY92" fmla="*/ 696523 h 1694229"/>
                  <a:gd name="connsiteX93" fmla="*/ 1622283 w 1881147"/>
                  <a:gd name="connsiteY93" fmla="*/ 553648 h 1694229"/>
                  <a:gd name="connsiteX94" fmla="*/ 1639486 w 1881147"/>
                  <a:gd name="connsiteY94"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05361 w 1881147"/>
                  <a:gd name="connsiteY14" fmla="*/ 315523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4856 w 1881147"/>
                  <a:gd name="connsiteY13" fmla="*/ 323206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38674 w 1881147"/>
                  <a:gd name="connsiteY16" fmla="*/ 358385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781524 w 1881147"/>
                  <a:gd name="connsiteY17" fmla="*/ 429823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781524 w 1881147"/>
                  <a:gd name="connsiteY18" fmla="*/ 463160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43424 w 1881147"/>
                  <a:gd name="connsiteY19" fmla="*/ 486973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671986 w 1881147"/>
                  <a:gd name="connsiteY20" fmla="*/ 420298 h 1694229"/>
                  <a:gd name="connsiteX21" fmla="*/ 519586 w 1881147"/>
                  <a:gd name="connsiteY21" fmla="*/ 415535 h 1694229"/>
                  <a:gd name="connsiteX22" fmla="*/ 457674 w 1881147"/>
                  <a:gd name="connsiteY22" fmla="*/ 434585 h 1694229"/>
                  <a:gd name="connsiteX23" fmla="*/ 419574 w 1881147"/>
                  <a:gd name="connsiteY23" fmla="*/ 420298 h 1694229"/>
                  <a:gd name="connsiteX24" fmla="*/ 400524 w 1881147"/>
                  <a:gd name="connsiteY24" fmla="*/ 358385 h 1694229"/>
                  <a:gd name="connsiteX25" fmla="*/ 333849 w 1881147"/>
                  <a:gd name="connsiteY25" fmla="*/ 305998 h 1694229"/>
                  <a:gd name="connsiteX26" fmla="*/ 286224 w 1881147"/>
                  <a:gd name="connsiteY26" fmla="*/ 239323 h 1694229"/>
                  <a:gd name="connsiteX27" fmla="*/ 143349 w 1881147"/>
                  <a:gd name="connsiteY27" fmla="*/ 258373 h 1694229"/>
                  <a:gd name="connsiteX28" fmla="*/ 124299 w 1881147"/>
                  <a:gd name="connsiteY28" fmla="*/ 334573 h 1694229"/>
                  <a:gd name="connsiteX29" fmla="*/ 110011 w 1881147"/>
                  <a:gd name="connsiteY29" fmla="*/ 367910 h 1694229"/>
                  <a:gd name="connsiteX30" fmla="*/ 133824 w 1881147"/>
                  <a:gd name="connsiteY30" fmla="*/ 415535 h 1694229"/>
                  <a:gd name="connsiteX31" fmla="*/ 81436 w 1881147"/>
                  <a:gd name="connsiteY31" fmla="*/ 453635 h 1694229"/>
                  <a:gd name="connsiteX32" fmla="*/ 33811 w 1881147"/>
                  <a:gd name="connsiteY32" fmla="*/ 448873 h 1694229"/>
                  <a:gd name="connsiteX33" fmla="*/ 33811 w 1881147"/>
                  <a:gd name="connsiteY33" fmla="*/ 520310 h 1694229"/>
                  <a:gd name="connsiteX34" fmla="*/ 474 w 1881147"/>
                  <a:gd name="connsiteY34" fmla="*/ 625085 h 1694229"/>
                  <a:gd name="connsiteX35" fmla="*/ 62386 w 1881147"/>
                  <a:gd name="connsiteY35" fmla="*/ 701285 h 1694229"/>
                  <a:gd name="connsiteX36" fmla="*/ 111977 w 1881147"/>
                  <a:gd name="connsiteY36" fmla="*/ 681547 h 1694229"/>
                  <a:gd name="connsiteX37" fmla="*/ 112334 w 1881147"/>
                  <a:gd name="connsiteY37" fmla="*/ 751806 h 1694229"/>
                  <a:gd name="connsiteX38" fmla="*/ 167161 w 1881147"/>
                  <a:gd name="connsiteY38" fmla="*/ 782248 h 1694229"/>
                  <a:gd name="connsiteX39" fmla="*/ 236159 w 1881147"/>
                  <a:gd name="connsiteY39" fmla="*/ 792460 h 1694229"/>
                  <a:gd name="connsiteX40" fmla="*/ 271462 w 1881147"/>
                  <a:gd name="connsiteY40" fmla="*/ 848431 h 1694229"/>
                  <a:gd name="connsiteX41" fmla="*/ 270869 w 1881147"/>
                  <a:gd name="connsiteY41" fmla="*/ 893503 h 1694229"/>
                  <a:gd name="connsiteX42" fmla="*/ 295393 w 1881147"/>
                  <a:gd name="connsiteY42" fmla="*/ 932978 h 1694229"/>
                  <a:gd name="connsiteX43" fmla="*/ 341051 w 1881147"/>
                  <a:gd name="connsiteY43" fmla="*/ 971570 h 1694229"/>
                  <a:gd name="connsiteX44" fmla="*/ 426184 w 1881147"/>
                  <a:gd name="connsiteY44" fmla="*/ 1025822 h 1694229"/>
                  <a:gd name="connsiteX45" fmla="*/ 461961 w 1881147"/>
                  <a:gd name="connsiteY45" fmla="*/ 1096915 h 1694229"/>
                  <a:gd name="connsiteX46" fmla="*/ 441064 w 1881147"/>
                  <a:gd name="connsiteY46" fmla="*/ 1166488 h 1694229"/>
                  <a:gd name="connsiteX47" fmla="*/ 519111 w 1881147"/>
                  <a:gd name="connsiteY47" fmla="*/ 1222951 h 1694229"/>
                  <a:gd name="connsiteX48" fmla="*/ 591143 w 1881147"/>
                  <a:gd name="connsiteY48" fmla="*/ 1255945 h 1694229"/>
                  <a:gd name="connsiteX49" fmla="*/ 571974 w 1881147"/>
                  <a:gd name="connsiteY49" fmla="*/ 1315648 h 1694229"/>
                  <a:gd name="connsiteX50" fmla="*/ 662461 w 1881147"/>
                  <a:gd name="connsiteY50" fmla="*/ 1468048 h 1694229"/>
                  <a:gd name="connsiteX51" fmla="*/ 755271 w 1881147"/>
                  <a:gd name="connsiteY51" fmla="*/ 1541202 h 1694229"/>
                  <a:gd name="connsiteX52" fmla="*/ 805336 w 1881147"/>
                  <a:gd name="connsiteY52" fmla="*/ 1491860 h 1694229"/>
                  <a:gd name="connsiteX53" fmla="*/ 869926 w 1881147"/>
                  <a:gd name="connsiteY53" fmla="*/ 1519257 h 1694229"/>
                  <a:gd name="connsiteX54" fmla="*/ 924399 w 1881147"/>
                  <a:gd name="connsiteY54" fmla="*/ 1487098 h 1694229"/>
                  <a:gd name="connsiteX55" fmla="*/ 941246 w 1881147"/>
                  <a:gd name="connsiteY55" fmla="*/ 1444922 h 1694229"/>
                  <a:gd name="connsiteX56" fmla="*/ 1005123 w 1881147"/>
                  <a:gd name="connsiteY56" fmla="*/ 1531334 h 1694229"/>
                  <a:gd name="connsiteX57" fmla="*/ 1050190 w 1881147"/>
                  <a:gd name="connsiteY57" fmla="*/ 1602428 h 1694229"/>
                  <a:gd name="connsiteX58" fmla="*/ 1120136 w 1881147"/>
                  <a:gd name="connsiteY58" fmla="*/ 1693947 h 1694229"/>
                  <a:gd name="connsiteX59" fmla="*/ 1151034 w 1881147"/>
                  <a:gd name="connsiteY59" fmla="*/ 1630856 h 1694229"/>
                  <a:gd name="connsiteX60" fmla="*/ 1181693 w 1881147"/>
                  <a:gd name="connsiteY60" fmla="*/ 1624376 h 1694229"/>
                  <a:gd name="connsiteX61" fmla="*/ 1224792 w 1881147"/>
                  <a:gd name="connsiteY61" fmla="*/ 1653639 h 1694229"/>
                  <a:gd name="connsiteX62" fmla="*/ 1258367 w 1881147"/>
                  <a:gd name="connsiteY62" fmla="*/ 1612985 h 1694229"/>
                  <a:gd name="connsiteX63" fmla="*/ 1277188 w 1881147"/>
                  <a:gd name="connsiteY63" fmla="*/ 1617602 h 1694229"/>
                  <a:gd name="connsiteX64" fmla="*/ 1311230 w 1881147"/>
                  <a:gd name="connsiteY64" fmla="*/ 1684079 h 1694229"/>
                  <a:gd name="connsiteX65" fmla="*/ 1367786 w 1881147"/>
                  <a:gd name="connsiteY65" fmla="*/ 1660610 h 1694229"/>
                  <a:gd name="connsiteX66" fmla="*/ 1419818 w 1881147"/>
                  <a:gd name="connsiteY66" fmla="*/ 1604489 h 1694229"/>
                  <a:gd name="connsiteX67" fmla="*/ 1470595 w 1881147"/>
                  <a:gd name="connsiteY67" fmla="*/ 1587946 h 1694229"/>
                  <a:gd name="connsiteX68" fmla="*/ 1488274 w 1881147"/>
                  <a:gd name="connsiteY68" fmla="*/ 1643768 h 1694229"/>
                  <a:gd name="connsiteX69" fmla="*/ 1558169 w 1881147"/>
                  <a:gd name="connsiteY69" fmla="*/ 1618090 h 1694229"/>
                  <a:gd name="connsiteX70" fmla="*/ 1588947 w 1881147"/>
                  <a:gd name="connsiteY70" fmla="*/ 1531334 h 1694229"/>
                  <a:gd name="connsiteX71" fmla="*/ 1670383 w 1881147"/>
                  <a:gd name="connsiteY71" fmla="*/ 1441192 h 1694229"/>
                  <a:gd name="connsiteX72" fmla="*/ 1714974 w 1881147"/>
                  <a:gd name="connsiteY72" fmla="*/ 1410062 h 1694229"/>
                  <a:gd name="connsiteX73" fmla="*/ 1743343 w 1881147"/>
                  <a:gd name="connsiteY73" fmla="*/ 1413357 h 1694229"/>
                  <a:gd name="connsiteX74" fmla="*/ 1820935 w 1881147"/>
                  <a:gd name="connsiteY74" fmla="*/ 1402749 h 1694229"/>
                  <a:gd name="connsiteX75" fmla="*/ 1816054 w 1881147"/>
                  <a:gd name="connsiteY75" fmla="*/ 1456313 h 1694229"/>
                  <a:gd name="connsiteX76" fmla="*/ 1874221 w 1881147"/>
                  <a:gd name="connsiteY76" fmla="*/ 1479634 h 1694229"/>
                  <a:gd name="connsiteX77" fmla="*/ 1875829 w 1881147"/>
                  <a:gd name="connsiteY77" fmla="*/ 1457000 h 1694229"/>
                  <a:gd name="connsiteX78" fmla="*/ 1875051 w 1881147"/>
                  <a:gd name="connsiteY78" fmla="*/ 1396266 h 1694229"/>
                  <a:gd name="connsiteX79" fmla="*/ 1853086 w 1881147"/>
                  <a:gd name="connsiteY79" fmla="*/ 1306123 h 1694229"/>
                  <a:gd name="connsiteX80" fmla="*/ 1853086 w 1881147"/>
                  <a:gd name="connsiteY80" fmla="*/ 1248973 h 1694229"/>
                  <a:gd name="connsiteX81" fmla="*/ 1810224 w 1881147"/>
                  <a:gd name="connsiteY81" fmla="*/ 1239448 h 1694229"/>
                  <a:gd name="connsiteX82" fmla="*/ 1734024 w 1881147"/>
                  <a:gd name="connsiteY82" fmla="*/ 1158485 h 1694229"/>
                  <a:gd name="connsiteX83" fmla="*/ 1695924 w 1881147"/>
                  <a:gd name="connsiteY83" fmla="*/ 977510 h 1694229"/>
                  <a:gd name="connsiteX84" fmla="*/ 1643536 w 1881147"/>
                  <a:gd name="connsiteY84" fmla="*/ 944173 h 1694229"/>
                  <a:gd name="connsiteX85" fmla="*/ 1605436 w 1881147"/>
                  <a:gd name="connsiteY85" fmla="*/ 887023 h 1694229"/>
                  <a:gd name="connsiteX86" fmla="*/ 1557811 w 1881147"/>
                  <a:gd name="connsiteY86" fmla="*/ 839398 h 1694229"/>
                  <a:gd name="connsiteX87" fmla="*/ 1505424 w 1881147"/>
                  <a:gd name="connsiteY87" fmla="*/ 820348 h 1694229"/>
                  <a:gd name="connsiteX88" fmla="*/ 1453036 w 1881147"/>
                  <a:gd name="connsiteY88" fmla="*/ 815585 h 1694229"/>
                  <a:gd name="connsiteX89" fmla="*/ 1510186 w 1881147"/>
                  <a:gd name="connsiteY89" fmla="*/ 782248 h 1694229"/>
                  <a:gd name="connsiteX90" fmla="*/ 1476849 w 1881147"/>
                  <a:gd name="connsiteY90" fmla="*/ 748910 h 1694229"/>
                  <a:gd name="connsiteX91" fmla="*/ 1481611 w 1881147"/>
                  <a:gd name="connsiteY91" fmla="*/ 725098 h 1694229"/>
                  <a:gd name="connsiteX92" fmla="*/ 1572099 w 1881147"/>
                  <a:gd name="connsiteY92" fmla="*/ 763198 h 1694229"/>
                  <a:gd name="connsiteX93" fmla="*/ 1624486 w 1881147"/>
                  <a:gd name="connsiteY93" fmla="*/ 696523 h 1694229"/>
                  <a:gd name="connsiteX94" fmla="*/ 1622283 w 1881147"/>
                  <a:gd name="connsiteY94" fmla="*/ 553648 h 1694229"/>
                  <a:gd name="connsiteX95" fmla="*/ 1639486 w 1881147"/>
                  <a:gd name="connsiteY95"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19586 w 1881147"/>
                  <a:gd name="connsiteY22" fmla="*/ 415535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7674 w 1881147"/>
                  <a:gd name="connsiteY23" fmla="*/ 434585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43349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6224 w 1881147"/>
                  <a:gd name="connsiteY27" fmla="*/ 239323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24299 w 1881147"/>
                  <a:gd name="connsiteY29" fmla="*/ 334573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10011 w 1881147"/>
                  <a:gd name="connsiteY30" fmla="*/ 367910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46620 w 1881147"/>
                  <a:gd name="connsiteY30" fmla="*/ 390888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3824 w 1881147"/>
                  <a:gd name="connsiteY31" fmla="*/ 415535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1436 w 1881147"/>
                  <a:gd name="connsiteY32" fmla="*/ 453635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486 w 1881147"/>
                  <a:gd name="connsiteY0" fmla="*/ 405322 h 1694229"/>
                  <a:gd name="connsiteX1" fmla="*/ 1567336 w 1881147"/>
                  <a:gd name="connsiteY1" fmla="*/ 372673 h 1694229"/>
                  <a:gd name="connsiteX2" fmla="*/ 1477087 w 1881147"/>
                  <a:gd name="connsiteY2" fmla="*/ 348860 h 1694229"/>
                  <a:gd name="connsiteX3" fmla="*/ 1423767 w 1881147"/>
                  <a:gd name="connsiteY3" fmla="*/ 271776 h 1694229"/>
                  <a:gd name="connsiteX4" fmla="*/ 1400666 w 1881147"/>
                  <a:gd name="connsiteY4" fmla="*/ 169931 h 1694229"/>
                  <a:gd name="connsiteX5" fmla="*/ 1364769 w 1881147"/>
                  <a:gd name="connsiteY5" fmla="*/ 1869 h 1694229"/>
                  <a:gd name="connsiteX6" fmla="*/ 1297400 w 1881147"/>
                  <a:gd name="connsiteY6" fmla="*/ 43567 h 1694229"/>
                  <a:gd name="connsiteX7" fmla="*/ 1291832 w 1881147"/>
                  <a:gd name="connsiteY7" fmla="*/ 101090 h 1694229"/>
                  <a:gd name="connsiteX8" fmla="*/ 1275927 w 1881147"/>
                  <a:gd name="connsiteY8" fmla="*/ 152303 h 1694229"/>
                  <a:gd name="connsiteX9" fmla="*/ 1256402 w 1881147"/>
                  <a:gd name="connsiteY9" fmla="*/ 204316 h 1694229"/>
                  <a:gd name="connsiteX10" fmla="*/ 1254673 w 1881147"/>
                  <a:gd name="connsiteY10" fmla="*/ 273739 h 1694229"/>
                  <a:gd name="connsiteX11" fmla="*/ 1181692 w 1881147"/>
                  <a:gd name="connsiteY11" fmla="*/ 283903 h 1694229"/>
                  <a:gd name="connsiteX12" fmla="*/ 1117339 w 1881147"/>
                  <a:gd name="connsiteY12" fmla="*/ 285917 h 1694229"/>
                  <a:gd name="connsiteX13" fmla="*/ 1069738 w 1881147"/>
                  <a:gd name="connsiteY13" fmla="*/ 346183 h 1694229"/>
                  <a:gd name="connsiteX14" fmla="*/ 1015123 w 1881147"/>
                  <a:gd name="connsiteY14" fmla="*/ 371690 h 1694229"/>
                  <a:gd name="connsiteX15" fmla="*/ 962499 w 1881147"/>
                  <a:gd name="connsiteY15" fmla="*/ 358385 h 1694229"/>
                  <a:gd name="connsiteX16" fmla="*/ 855759 w 1881147"/>
                  <a:gd name="connsiteY16" fmla="*/ 376257 h 1694229"/>
                  <a:gd name="connsiteX17" fmla="*/ 832776 w 1881147"/>
                  <a:gd name="connsiteY17" fmla="*/ 440035 h 1694229"/>
                  <a:gd name="connsiteX18" fmla="*/ 815693 w 1881147"/>
                  <a:gd name="connsiteY18" fmla="*/ 475926 h 1694229"/>
                  <a:gd name="connsiteX19" fmla="*/ 733662 w 1881147"/>
                  <a:gd name="connsiteY19" fmla="*/ 494632 h 1694229"/>
                  <a:gd name="connsiteX20" fmla="*/ 715850 w 1881147"/>
                  <a:gd name="connsiteY20" fmla="*/ 440647 h 1694229"/>
                  <a:gd name="connsiteX21" fmla="*/ 671986 w 1881147"/>
                  <a:gd name="connsiteY21" fmla="*/ 420298 h 1694229"/>
                  <a:gd name="connsiteX22" fmla="*/ 536670 w 1881147"/>
                  <a:gd name="connsiteY22" fmla="*/ 420641 h 1694229"/>
                  <a:gd name="connsiteX23" fmla="*/ 452793 w 1881147"/>
                  <a:gd name="connsiteY23" fmla="*/ 447350 h 1694229"/>
                  <a:gd name="connsiteX24" fmla="*/ 419574 w 1881147"/>
                  <a:gd name="connsiteY24" fmla="*/ 420298 h 1694229"/>
                  <a:gd name="connsiteX25" fmla="*/ 400524 w 1881147"/>
                  <a:gd name="connsiteY25" fmla="*/ 358385 h 1694229"/>
                  <a:gd name="connsiteX26" fmla="*/ 333849 w 1881147"/>
                  <a:gd name="connsiteY26" fmla="*/ 305998 h 1694229"/>
                  <a:gd name="connsiteX27" fmla="*/ 288664 w 1881147"/>
                  <a:gd name="connsiteY27" fmla="*/ 229110 h 1694229"/>
                  <a:gd name="connsiteX28" fmla="*/ 165314 w 1881147"/>
                  <a:gd name="connsiteY28" fmla="*/ 258373 h 1694229"/>
                  <a:gd name="connsiteX29" fmla="*/ 146264 w 1881147"/>
                  <a:gd name="connsiteY29" fmla="*/ 344785 h 1694229"/>
                  <a:gd name="connsiteX30" fmla="*/ 163704 w 1881147"/>
                  <a:gd name="connsiteY30" fmla="*/ 411312 h 1694229"/>
                  <a:gd name="connsiteX31" fmla="*/ 136265 w 1881147"/>
                  <a:gd name="connsiteY31" fmla="*/ 446172 h 1694229"/>
                  <a:gd name="connsiteX32" fmla="*/ 83877 w 1881147"/>
                  <a:gd name="connsiteY32" fmla="*/ 474059 h 1694229"/>
                  <a:gd name="connsiteX33" fmla="*/ 33811 w 1881147"/>
                  <a:gd name="connsiteY33" fmla="*/ 448873 h 1694229"/>
                  <a:gd name="connsiteX34" fmla="*/ 33811 w 1881147"/>
                  <a:gd name="connsiteY34" fmla="*/ 520310 h 1694229"/>
                  <a:gd name="connsiteX35" fmla="*/ 474 w 1881147"/>
                  <a:gd name="connsiteY35" fmla="*/ 625085 h 1694229"/>
                  <a:gd name="connsiteX36" fmla="*/ 62386 w 1881147"/>
                  <a:gd name="connsiteY36" fmla="*/ 701285 h 1694229"/>
                  <a:gd name="connsiteX37" fmla="*/ 111977 w 1881147"/>
                  <a:gd name="connsiteY37" fmla="*/ 681547 h 1694229"/>
                  <a:gd name="connsiteX38" fmla="*/ 112334 w 1881147"/>
                  <a:gd name="connsiteY38" fmla="*/ 751806 h 1694229"/>
                  <a:gd name="connsiteX39" fmla="*/ 167161 w 1881147"/>
                  <a:gd name="connsiteY39" fmla="*/ 782248 h 1694229"/>
                  <a:gd name="connsiteX40" fmla="*/ 236159 w 1881147"/>
                  <a:gd name="connsiteY40" fmla="*/ 792460 h 1694229"/>
                  <a:gd name="connsiteX41" fmla="*/ 271462 w 1881147"/>
                  <a:gd name="connsiteY41" fmla="*/ 848431 h 1694229"/>
                  <a:gd name="connsiteX42" fmla="*/ 270869 w 1881147"/>
                  <a:gd name="connsiteY42" fmla="*/ 893503 h 1694229"/>
                  <a:gd name="connsiteX43" fmla="*/ 295393 w 1881147"/>
                  <a:gd name="connsiteY43" fmla="*/ 932978 h 1694229"/>
                  <a:gd name="connsiteX44" fmla="*/ 341051 w 1881147"/>
                  <a:gd name="connsiteY44" fmla="*/ 971570 h 1694229"/>
                  <a:gd name="connsiteX45" fmla="*/ 426184 w 1881147"/>
                  <a:gd name="connsiteY45" fmla="*/ 1025822 h 1694229"/>
                  <a:gd name="connsiteX46" fmla="*/ 461961 w 1881147"/>
                  <a:gd name="connsiteY46" fmla="*/ 1096915 h 1694229"/>
                  <a:gd name="connsiteX47" fmla="*/ 441064 w 1881147"/>
                  <a:gd name="connsiteY47" fmla="*/ 1166488 h 1694229"/>
                  <a:gd name="connsiteX48" fmla="*/ 519111 w 1881147"/>
                  <a:gd name="connsiteY48" fmla="*/ 1222951 h 1694229"/>
                  <a:gd name="connsiteX49" fmla="*/ 591143 w 1881147"/>
                  <a:gd name="connsiteY49" fmla="*/ 1255945 h 1694229"/>
                  <a:gd name="connsiteX50" fmla="*/ 571974 w 1881147"/>
                  <a:gd name="connsiteY50" fmla="*/ 1315648 h 1694229"/>
                  <a:gd name="connsiteX51" fmla="*/ 662461 w 1881147"/>
                  <a:gd name="connsiteY51" fmla="*/ 1468048 h 1694229"/>
                  <a:gd name="connsiteX52" fmla="*/ 755271 w 1881147"/>
                  <a:gd name="connsiteY52" fmla="*/ 1541202 h 1694229"/>
                  <a:gd name="connsiteX53" fmla="*/ 805336 w 1881147"/>
                  <a:gd name="connsiteY53" fmla="*/ 1491860 h 1694229"/>
                  <a:gd name="connsiteX54" fmla="*/ 869926 w 1881147"/>
                  <a:gd name="connsiteY54" fmla="*/ 1519257 h 1694229"/>
                  <a:gd name="connsiteX55" fmla="*/ 924399 w 1881147"/>
                  <a:gd name="connsiteY55" fmla="*/ 1487098 h 1694229"/>
                  <a:gd name="connsiteX56" fmla="*/ 941246 w 1881147"/>
                  <a:gd name="connsiteY56" fmla="*/ 1444922 h 1694229"/>
                  <a:gd name="connsiteX57" fmla="*/ 1005123 w 1881147"/>
                  <a:gd name="connsiteY57" fmla="*/ 1531334 h 1694229"/>
                  <a:gd name="connsiteX58" fmla="*/ 1050190 w 1881147"/>
                  <a:gd name="connsiteY58" fmla="*/ 1602428 h 1694229"/>
                  <a:gd name="connsiteX59" fmla="*/ 1120136 w 1881147"/>
                  <a:gd name="connsiteY59" fmla="*/ 1693947 h 1694229"/>
                  <a:gd name="connsiteX60" fmla="*/ 1151034 w 1881147"/>
                  <a:gd name="connsiteY60" fmla="*/ 1630856 h 1694229"/>
                  <a:gd name="connsiteX61" fmla="*/ 1181693 w 1881147"/>
                  <a:gd name="connsiteY61" fmla="*/ 1624376 h 1694229"/>
                  <a:gd name="connsiteX62" fmla="*/ 1224792 w 1881147"/>
                  <a:gd name="connsiteY62" fmla="*/ 1653639 h 1694229"/>
                  <a:gd name="connsiteX63" fmla="*/ 1258367 w 1881147"/>
                  <a:gd name="connsiteY63" fmla="*/ 1612985 h 1694229"/>
                  <a:gd name="connsiteX64" fmla="*/ 1277188 w 1881147"/>
                  <a:gd name="connsiteY64" fmla="*/ 1617602 h 1694229"/>
                  <a:gd name="connsiteX65" fmla="*/ 1311230 w 1881147"/>
                  <a:gd name="connsiteY65" fmla="*/ 1684079 h 1694229"/>
                  <a:gd name="connsiteX66" fmla="*/ 1367786 w 1881147"/>
                  <a:gd name="connsiteY66" fmla="*/ 1660610 h 1694229"/>
                  <a:gd name="connsiteX67" fmla="*/ 1419818 w 1881147"/>
                  <a:gd name="connsiteY67" fmla="*/ 1604489 h 1694229"/>
                  <a:gd name="connsiteX68" fmla="*/ 1470595 w 1881147"/>
                  <a:gd name="connsiteY68" fmla="*/ 1587946 h 1694229"/>
                  <a:gd name="connsiteX69" fmla="*/ 1488274 w 1881147"/>
                  <a:gd name="connsiteY69" fmla="*/ 1643768 h 1694229"/>
                  <a:gd name="connsiteX70" fmla="*/ 1558169 w 1881147"/>
                  <a:gd name="connsiteY70" fmla="*/ 1618090 h 1694229"/>
                  <a:gd name="connsiteX71" fmla="*/ 1588947 w 1881147"/>
                  <a:gd name="connsiteY71" fmla="*/ 1531334 h 1694229"/>
                  <a:gd name="connsiteX72" fmla="*/ 1670383 w 1881147"/>
                  <a:gd name="connsiteY72" fmla="*/ 1441192 h 1694229"/>
                  <a:gd name="connsiteX73" fmla="*/ 1714974 w 1881147"/>
                  <a:gd name="connsiteY73" fmla="*/ 1410062 h 1694229"/>
                  <a:gd name="connsiteX74" fmla="*/ 1743343 w 1881147"/>
                  <a:gd name="connsiteY74" fmla="*/ 1413357 h 1694229"/>
                  <a:gd name="connsiteX75" fmla="*/ 1820935 w 1881147"/>
                  <a:gd name="connsiteY75" fmla="*/ 1402749 h 1694229"/>
                  <a:gd name="connsiteX76" fmla="*/ 1816054 w 1881147"/>
                  <a:gd name="connsiteY76" fmla="*/ 1456313 h 1694229"/>
                  <a:gd name="connsiteX77" fmla="*/ 1874221 w 1881147"/>
                  <a:gd name="connsiteY77" fmla="*/ 1479634 h 1694229"/>
                  <a:gd name="connsiteX78" fmla="*/ 1875829 w 1881147"/>
                  <a:gd name="connsiteY78" fmla="*/ 1457000 h 1694229"/>
                  <a:gd name="connsiteX79" fmla="*/ 1875051 w 1881147"/>
                  <a:gd name="connsiteY79" fmla="*/ 1396266 h 1694229"/>
                  <a:gd name="connsiteX80" fmla="*/ 1853086 w 1881147"/>
                  <a:gd name="connsiteY80" fmla="*/ 1306123 h 1694229"/>
                  <a:gd name="connsiteX81" fmla="*/ 1853086 w 1881147"/>
                  <a:gd name="connsiteY81" fmla="*/ 1248973 h 1694229"/>
                  <a:gd name="connsiteX82" fmla="*/ 1810224 w 1881147"/>
                  <a:gd name="connsiteY82" fmla="*/ 1239448 h 1694229"/>
                  <a:gd name="connsiteX83" fmla="*/ 1734024 w 1881147"/>
                  <a:gd name="connsiteY83" fmla="*/ 1158485 h 1694229"/>
                  <a:gd name="connsiteX84" fmla="*/ 1695924 w 1881147"/>
                  <a:gd name="connsiteY84" fmla="*/ 977510 h 1694229"/>
                  <a:gd name="connsiteX85" fmla="*/ 1643536 w 1881147"/>
                  <a:gd name="connsiteY85" fmla="*/ 944173 h 1694229"/>
                  <a:gd name="connsiteX86" fmla="*/ 1605436 w 1881147"/>
                  <a:gd name="connsiteY86" fmla="*/ 887023 h 1694229"/>
                  <a:gd name="connsiteX87" fmla="*/ 1557811 w 1881147"/>
                  <a:gd name="connsiteY87" fmla="*/ 839398 h 1694229"/>
                  <a:gd name="connsiteX88" fmla="*/ 1505424 w 1881147"/>
                  <a:gd name="connsiteY88" fmla="*/ 820348 h 1694229"/>
                  <a:gd name="connsiteX89" fmla="*/ 1453036 w 1881147"/>
                  <a:gd name="connsiteY89" fmla="*/ 815585 h 1694229"/>
                  <a:gd name="connsiteX90" fmla="*/ 1510186 w 1881147"/>
                  <a:gd name="connsiteY90" fmla="*/ 782248 h 1694229"/>
                  <a:gd name="connsiteX91" fmla="*/ 1476849 w 1881147"/>
                  <a:gd name="connsiteY91" fmla="*/ 748910 h 1694229"/>
                  <a:gd name="connsiteX92" fmla="*/ 1481611 w 1881147"/>
                  <a:gd name="connsiteY92" fmla="*/ 725098 h 1694229"/>
                  <a:gd name="connsiteX93" fmla="*/ 1572099 w 1881147"/>
                  <a:gd name="connsiteY93" fmla="*/ 763198 h 1694229"/>
                  <a:gd name="connsiteX94" fmla="*/ 1624486 w 1881147"/>
                  <a:gd name="connsiteY94" fmla="*/ 696523 h 1694229"/>
                  <a:gd name="connsiteX95" fmla="*/ 1622283 w 1881147"/>
                  <a:gd name="connsiteY95" fmla="*/ 553648 h 1694229"/>
                  <a:gd name="connsiteX96" fmla="*/ 1639486 w 1881147"/>
                  <a:gd name="connsiteY96" fmla="*/ 405322 h 1694229"/>
                  <a:gd name="connsiteX0" fmla="*/ 1639538 w 1881199"/>
                  <a:gd name="connsiteY0" fmla="*/ 405322 h 1694229"/>
                  <a:gd name="connsiteX1" fmla="*/ 1567388 w 1881199"/>
                  <a:gd name="connsiteY1" fmla="*/ 372673 h 1694229"/>
                  <a:gd name="connsiteX2" fmla="*/ 1477139 w 1881199"/>
                  <a:gd name="connsiteY2" fmla="*/ 348860 h 1694229"/>
                  <a:gd name="connsiteX3" fmla="*/ 1423819 w 1881199"/>
                  <a:gd name="connsiteY3" fmla="*/ 271776 h 1694229"/>
                  <a:gd name="connsiteX4" fmla="*/ 1400718 w 1881199"/>
                  <a:gd name="connsiteY4" fmla="*/ 169931 h 1694229"/>
                  <a:gd name="connsiteX5" fmla="*/ 1364821 w 1881199"/>
                  <a:gd name="connsiteY5" fmla="*/ 1869 h 1694229"/>
                  <a:gd name="connsiteX6" fmla="*/ 1297452 w 1881199"/>
                  <a:gd name="connsiteY6" fmla="*/ 43567 h 1694229"/>
                  <a:gd name="connsiteX7" fmla="*/ 1291884 w 1881199"/>
                  <a:gd name="connsiteY7" fmla="*/ 101090 h 1694229"/>
                  <a:gd name="connsiteX8" fmla="*/ 1275979 w 1881199"/>
                  <a:gd name="connsiteY8" fmla="*/ 152303 h 1694229"/>
                  <a:gd name="connsiteX9" fmla="*/ 1256454 w 1881199"/>
                  <a:gd name="connsiteY9" fmla="*/ 204316 h 1694229"/>
                  <a:gd name="connsiteX10" fmla="*/ 1254725 w 1881199"/>
                  <a:gd name="connsiteY10" fmla="*/ 273739 h 1694229"/>
                  <a:gd name="connsiteX11" fmla="*/ 1181744 w 1881199"/>
                  <a:gd name="connsiteY11" fmla="*/ 283903 h 1694229"/>
                  <a:gd name="connsiteX12" fmla="*/ 1117391 w 1881199"/>
                  <a:gd name="connsiteY12" fmla="*/ 285917 h 1694229"/>
                  <a:gd name="connsiteX13" fmla="*/ 1069790 w 1881199"/>
                  <a:gd name="connsiteY13" fmla="*/ 346183 h 1694229"/>
                  <a:gd name="connsiteX14" fmla="*/ 1015175 w 1881199"/>
                  <a:gd name="connsiteY14" fmla="*/ 371690 h 1694229"/>
                  <a:gd name="connsiteX15" fmla="*/ 962551 w 1881199"/>
                  <a:gd name="connsiteY15" fmla="*/ 358385 h 1694229"/>
                  <a:gd name="connsiteX16" fmla="*/ 855811 w 1881199"/>
                  <a:gd name="connsiteY16" fmla="*/ 376257 h 1694229"/>
                  <a:gd name="connsiteX17" fmla="*/ 832828 w 1881199"/>
                  <a:gd name="connsiteY17" fmla="*/ 440035 h 1694229"/>
                  <a:gd name="connsiteX18" fmla="*/ 815745 w 1881199"/>
                  <a:gd name="connsiteY18" fmla="*/ 475926 h 1694229"/>
                  <a:gd name="connsiteX19" fmla="*/ 733714 w 1881199"/>
                  <a:gd name="connsiteY19" fmla="*/ 494632 h 1694229"/>
                  <a:gd name="connsiteX20" fmla="*/ 715902 w 1881199"/>
                  <a:gd name="connsiteY20" fmla="*/ 440647 h 1694229"/>
                  <a:gd name="connsiteX21" fmla="*/ 672038 w 1881199"/>
                  <a:gd name="connsiteY21" fmla="*/ 420298 h 1694229"/>
                  <a:gd name="connsiteX22" fmla="*/ 536722 w 1881199"/>
                  <a:gd name="connsiteY22" fmla="*/ 420641 h 1694229"/>
                  <a:gd name="connsiteX23" fmla="*/ 452845 w 1881199"/>
                  <a:gd name="connsiteY23" fmla="*/ 447350 h 1694229"/>
                  <a:gd name="connsiteX24" fmla="*/ 419626 w 1881199"/>
                  <a:gd name="connsiteY24" fmla="*/ 420298 h 1694229"/>
                  <a:gd name="connsiteX25" fmla="*/ 400576 w 1881199"/>
                  <a:gd name="connsiteY25" fmla="*/ 358385 h 1694229"/>
                  <a:gd name="connsiteX26" fmla="*/ 333901 w 1881199"/>
                  <a:gd name="connsiteY26" fmla="*/ 305998 h 1694229"/>
                  <a:gd name="connsiteX27" fmla="*/ 288716 w 1881199"/>
                  <a:gd name="connsiteY27" fmla="*/ 229110 h 1694229"/>
                  <a:gd name="connsiteX28" fmla="*/ 165366 w 1881199"/>
                  <a:gd name="connsiteY28" fmla="*/ 258373 h 1694229"/>
                  <a:gd name="connsiteX29" fmla="*/ 146316 w 1881199"/>
                  <a:gd name="connsiteY29" fmla="*/ 344785 h 1694229"/>
                  <a:gd name="connsiteX30" fmla="*/ 163756 w 1881199"/>
                  <a:gd name="connsiteY30" fmla="*/ 411312 h 1694229"/>
                  <a:gd name="connsiteX31" fmla="*/ 136317 w 1881199"/>
                  <a:gd name="connsiteY31" fmla="*/ 446172 h 1694229"/>
                  <a:gd name="connsiteX32" fmla="*/ 83929 w 1881199"/>
                  <a:gd name="connsiteY32" fmla="*/ 474059 h 1694229"/>
                  <a:gd name="connsiteX33" fmla="*/ 55828 w 1881199"/>
                  <a:gd name="connsiteY33" fmla="*/ 482063 h 1694229"/>
                  <a:gd name="connsiteX34" fmla="*/ 33863 w 1881199"/>
                  <a:gd name="connsiteY34" fmla="*/ 520310 h 1694229"/>
                  <a:gd name="connsiteX35" fmla="*/ 526 w 1881199"/>
                  <a:gd name="connsiteY35" fmla="*/ 625085 h 1694229"/>
                  <a:gd name="connsiteX36" fmla="*/ 62438 w 1881199"/>
                  <a:gd name="connsiteY36" fmla="*/ 701285 h 1694229"/>
                  <a:gd name="connsiteX37" fmla="*/ 112029 w 1881199"/>
                  <a:gd name="connsiteY37" fmla="*/ 681547 h 1694229"/>
                  <a:gd name="connsiteX38" fmla="*/ 112386 w 1881199"/>
                  <a:gd name="connsiteY38" fmla="*/ 751806 h 1694229"/>
                  <a:gd name="connsiteX39" fmla="*/ 167213 w 1881199"/>
                  <a:gd name="connsiteY39" fmla="*/ 782248 h 1694229"/>
                  <a:gd name="connsiteX40" fmla="*/ 236211 w 1881199"/>
                  <a:gd name="connsiteY40" fmla="*/ 792460 h 1694229"/>
                  <a:gd name="connsiteX41" fmla="*/ 271514 w 1881199"/>
                  <a:gd name="connsiteY41" fmla="*/ 848431 h 1694229"/>
                  <a:gd name="connsiteX42" fmla="*/ 270921 w 1881199"/>
                  <a:gd name="connsiteY42" fmla="*/ 893503 h 1694229"/>
                  <a:gd name="connsiteX43" fmla="*/ 295445 w 1881199"/>
                  <a:gd name="connsiteY43" fmla="*/ 932978 h 1694229"/>
                  <a:gd name="connsiteX44" fmla="*/ 341103 w 1881199"/>
                  <a:gd name="connsiteY44" fmla="*/ 971570 h 1694229"/>
                  <a:gd name="connsiteX45" fmla="*/ 426236 w 1881199"/>
                  <a:gd name="connsiteY45" fmla="*/ 1025822 h 1694229"/>
                  <a:gd name="connsiteX46" fmla="*/ 462013 w 1881199"/>
                  <a:gd name="connsiteY46" fmla="*/ 1096915 h 1694229"/>
                  <a:gd name="connsiteX47" fmla="*/ 441116 w 1881199"/>
                  <a:gd name="connsiteY47" fmla="*/ 1166488 h 1694229"/>
                  <a:gd name="connsiteX48" fmla="*/ 519163 w 1881199"/>
                  <a:gd name="connsiteY48" fmla="*/ 1222951 h 1694229"/>
                  <a:gd name="connsiteX49" fmla="*/ 591195 w 1881199"/>
                  <a:gd name="connsiteY49" fmla="*/ 1255945 h 1694229"/>
                  <a:gd name="connsiteX50" fmla="*/ 572026 w 1881199"/>
                  <a:gd name="connsiteY50" fmla="*/ 1315648 h 1694229"/>
                  <a:gd name="connsiteX51" fmla="*/ 662513 w 1881199"/>
                  <a:gd name="connsiteY51" fmla="*/ 1468048 h 1694229"/>
                  <a:gd name="connsiteX52" fmla="*/ 755323 w 1881199"/>
                  <a:gd name="connsiteY52" fmla="*/ 1541202 h 1694229"/>
                  <a:gd name="connsiteX53" fmla="*/ 805388 w 1881199"/>
                  <a:gd name="connsiteY53" fmla="*/ 1491860 h 1694229"/>
                  <a:gd name="connsiteX54" fmla="*/ 869978 w 1881199"/>
                  <a:gd name="connsiteY54" fmla="*/ 1519257 h 1694229"/>
                  <a:gd name="connsiteX55" fmla="*/ 924451 w 1881199"/>
                  <a:gd name="connsiteY55" fmla="*/ 1487098 h 1694229"/>
                  <a:gd name="connsiteX56" fmla="*/ 941298 w 1881199"/>
                  <a:gd name="connsiteY56" fmla="*/ 1444922 h 1694229"/>
                  <a:gd name="connsiteX57" fmla="*/ 1005175 w 1881199"/>
                  <a:gd name="connsiteY57" fmla="*/ 1531334 h 1694229"/>
                  <a:gd name="connsiteX58" fmla="*/ 1050242 w 1881199"/>
                  <a:gd name="connsiteY58" fmla="*/ 1602428 h 1694229"/>
                  <a:gd name="connsiteX59" fmla="*/ 1120188 w 1881199"/>
                  <a:gd name="connsiteY59" fmla="*/ 1693947 h 1694229"/>
                  <a:gd name="connsiteX60" fmla="*/ 1151086 w 1881199"/>
                  <a:gd name="connsiteY60" fmla="*/ 1630856 h 1694229"/>
                  <a:gd name="connsiteX61" fmla="*/ 1181745 w 1881199"/>
                  <a:gd name="connsiteY61" fmla="*/ 1624376 h 1694229"/>
                  <a:gd name="connsiteX62" fmla="*/ 1224844 w 1881199"/>
                  <a:gd name="connsiteY62" fmla="*/ 1653639 h 1694229"/>
                  <a:gd name="connsiteX63" fmla="*/ 1258419 w 1881199"/>
                  <a:gd name="connsiteY63" fmla="*/ 1612985 h 1694229"/>
                  <a:gd name="connsiteX64" fmla="*/ 1277240 w 1881199"/>
                  <a:gd name="connsiteY64" fmla="*/ 1617602 h 1694229"/>
                  <a:gd name="connsiteX65" fmla="*/ 1311282 w 1881199"/>
                  <a:gd name="connsiteY65" fmla="*/ 1684079 h 1694229"/>
                  <a:gd name="connsiteX66" fmla="*/ 1367838 w 1881199"/>
                  <a:gd name="connsiteY66" fmla="*/ 1660610 h 1694229"/>
                  <a:gd name="connsiteX67" fmla="*/ 1419870 w 1881199"/>
                  <a:gd name="connsiteY67" fmla="*/ 1604489 h 1694229"/>
                  <a:gd name="connsiteX68" fmla="*/ 1470647 w 1881199"/>
                  <a:gd name="connsiteY68" fmla="*/ 1587946 h 1694229"/>
                  <a:gd name="connsiteX69" fmla="*/ 1488326 w 1881199"/>
                  <a:gd name="connsiteY69" fmla="*/ 1643768 h 1694229"/>
                  <a:gd name="connsiteX70" fmla="*/ 1558221 w 1881199"/>
                  <a:gd name="connsiteY70" fmla="*/ 1618090 h 1694229"/>
                  <a:gd name="connsiteX71" fmla="*/ 1588999 w 1881199"/>
                  <a:gd name="connsiteY71" fmla="*/ 1531334 h 1694229"/>
                  <a:gd name="connsiteX72" fmla="*/ 1670435 w 1881199"/>
                  <a:gd name="connsiteY72" fmla="*/ 1441192 h 1694229"/>
                  <a:gd name="connsiteX73" fmla="*/ 1715026 w 1881199"/>
                  <a:gd name="connsiteY73" fmla="*/ 1410062 h 1694229"/>
                  <a:gd name="connsiteX74" fmla="*/ 1743395 w 1881199"/>
                  <a:gd name="connsiteY74" fmla="*/ 1413357 h 1694229"/>
                  <a:gd name="connsiteX75" fmla="*/ 1820987 w 1881199"/>
                  <a:gd name="connsiteY75" fmla="*/ 1402749 h 1694229"/>
                  <a:gd name="connsiteX76" fmla="*/ 1816106 w 1881199"/>
                  <a:gd name="connsiteY76" fmla="*/ 1456313 h 1694229"/>
                  <a:gd name="connsiteX77" fmla="*/ 1874273 w 1881199"/>
                  <a:gd name="connsiteY77" fmla="*/ 1479634 h 1694229"/>
                  <a:gd name="connsiteX78" fmla="*/ 1875881 w 1881199"/>
                  <a:gd name="connsiteY78" fmla="*/ 1457000 h 1694229"/>
                  <a:gd name="connsiteX79" fmla="*/ 1875103 w 1881199"/>
                  <a:gd name="connsiteY79" fmla="*/ 1396266 h 1694229"/>
                  <a:gd name="connsiteX80" fmla="*/ 1853138 w 1881199"/>
                  <a:gd name="connsiteY80" fmla="*/ 1306123 h 1694229"/>
                  <a:gd name="connsiteX81" fmla="*/ 1853138 w 1881199"/>
                  <a:gd name="connsiteY81" fmla="*/ 1248973 h 1694229"/>
                  <a:gd name="connsiteX82" fmla="*/ 1810276 w 1881199"/>
                  <a:gd name="connsiteY82" fmla="*/ 1239448 h 1694229"/>
                  <a:gd name="connsiteX83" fmla="*/ 1734076 w 1881199"/>
                  <a:gd name="connsiteY83" fmla="*/ 1158485 h 1694229"/>
                  <a:gd name="connsiteX84" fmla="*/ 1695976 w 1881199"/>
                  <a:gd name="connsiteY84" fmla="*/ 977510 h 1694229"/>
                  <a:gd name="connsiteX85" fmla="*/ 1643588 w 1881199"/>
                  <a:gd name="connsiteY85" fmla="*/ 944173 h 1694229"/>
                  <a:gd name="connsiteX86" fmla="*/ 1605488 w 1881199"/>
                  <a:gd name="connsiteY86" fmla="*/ 887023 h 1694229"/>
                  <a:gd name="connsiteX87" fmla="*/ 1557863 w 1881199"/>
                  <a:gd name="connsiteY87" fmla="*/ 839398 h 1694229"/>
                  <a:gd name="connsiteX88" fmla="*/ 1505476 w 1881199"/>
                  <a:gd name="connsiteY88" fmla="*/ 820348 h 1694229"/>
                  <a:gd name="connsiteX89" fmla="*/ 1453088 w 1881199"/>
                  <a:gd name="connsiteY89" fmla="*/ 815585 h 1694229"/>
                  <a:gd name="connsiteX90" fmla="*/ 1510238 w 1881199"/>
                  <a:gd name="connsiteY90" fmla="*/ 782248 h 1694229"/>
                  <a:gd name="connsiteX91" fmla="*/ 1476901 w 1881199"/>
                  <a:gd name="connsiteY91" fmla="*/ 748910 h 1694229"/>
                  <a:gd name="connsiteX92" fmla="*/ 1481663 w 1881199"/>
                  <a:gd name="connsiteY92" fmla="*/ 725098 h 1694229"/>
                  <a:gd name="connsiteX93" fmla="*/ 1572151 w 1881199"/>
                  <a:gd name="connsiteY93" fmla="*/ 763198 h 1694229"/>
                  <a:gd name="connsiteX94" fmla="*/ 1624538 w 1881199"/>
                  <a:gd name="connsiteY94" fmla="*/ 696523 h 1694229"/>
                  <a:gd name="connsiteX95" fmla="*/ 1622335 w 1881199"/>
                  <a:gd name="connsiteY95" fmla="*/ 553648 h 1694229"/>
                  <a:gd name="connsiteX96" fmla="*/ 1639538 w 1881199"/>
                  <a:gd name="connsiteY96" fmla="*/ 405322 h 1694229"/>
                  <a:gd name="connsiteX0" fmla="*/ 1620540 w 1862201"/>
                  <a:gd name="connsiteY0" fmla="*/ 405322 h 1694229"/>
                  <a:gd name="connsiteX1" fmla="*/ 1548390 w 1862201"/>
                  <a:gd name="connsiteY1" fmla="*/ 372673 h 1694229"/>
                  <a:gd name="connsiteX2" fmla="*/ 1458141 w 1862201"/>
                  <a:gd name="connsiteY2" fmla="*/ 348860 h 1694229"/>
                  <a:gd name="connsiteX3" fmla="*/ 1404821 w 1862201"/>
                  <a:gd name="connsiteY3" fmla="*/ 271776 h 1694229"/>
                  <a:gd name="connsiteX4" fmla="*/ 1381720 w 1862201"/>
                  <a:gd name="connsiteY4" fmla="*/ 169931 h 1694229"/>
                  <a:gd name="connsiteX5" fmla="*/ 1345823 w 1862201"/>
                  <a:gd name="connsiteY5" fmla="*/ 1869 h 1694229"/>
                  <a:gd name="connsiteX6" fmla="*/ 1278454 w 1862201"/>
                  <a:gd name="connsiteY6" fmla="*/ 43567 h 1694229"/>
                  <a:gd name="connsiteX7" fmla="*/ 1272886 w 1862201"/>
                  <a:gd name="connsiteY7" fmla="*/ 101090 h 1694229"/>
                  <a:gd name="connsiteX8" fmla="*/ 1256981 w 1862201"/>
                  <a:gd name="connsiteY8" fmla="*/ 152303 h 1694229"/>
                  <a:gd name="connsiteX9" fmla="*/ 1237456 w 1862201"/>
                  <a:gd name="connsiteY9" fmla="*/ 204316 h 1694229"/>
                  <a:gd name="connsiteX10" fmla="*/ 1235727 w 1862201"/>
                  <a:gd name="connsiteY10" fmla="*/ 273739 h 1694229"/>
                  <a:gd name="connsiteX11" fmla="*/ 1162746 w 1862201"/>
                  <a:gd name="connsiteY11" fmla="*/ 283903 h 1694229"/>
                  <a:gd name="connsiteX12" fmla="*/ 1098393 w 1862201"/>
                  <a:gd name="connsiteY12" fmla="*/ 285917 h 1694229"/>
                  <a:gd name="connsiteX13" fmla="*/ 1050792 w 1862201"/>
                  <a:gd name="connsiteY13" fmla="*/ 346183 h 1694229"/>
                  <a:gd name="connsiteX14" fmla="*/ 996177 w 1862201"/>
                  <a:gd name="connsiteY14" fmla="*/ 371690 h 1694229"/>
                  <a:gd name="connsiteX15" fmla="*/ 943553 w 1862201"/>
                  <a:gd name="connsiteY15" fmla="*/ 358385 h 1694229"/>
                  <a:gd name="connsiteX16" fmla="*/ 836813 w 1862201"/>
                  <a:gd name="connsiteY16" fmla="*/ 376257 h 1694229"/>
                  <a:gd name="connsiteX17" fmla="*/ 813830 w 1862201"/>
                  <a:gd name="connsiteY17" fmla="*/ 440035 h 1694229"/>
                  <a:gd name="connsiteX18" fmla="*/ 796747 w 1862201"/>
                  <a:gd name="connsiteY18" fmla="*/ 475926 h 1694229"/>
                  <a:gd name="connsiteX19" fmla="*/ 714716 w 1862201"/>
                  <a:gd name="connsiteY19" fmla="*/ 494632 h 1694229"/>
                  <a:gd name="connsiteX20" fmla="*/ 696904 w 1862201"/>
                  <a:gd name="connsiteY20" fmla="*/ 440647 h 1694229"/>
                  <a:gd name="connsiteX21" fmla="*/ 653040 w 1862201"/>
                  <a:gd name="connsiteY21" fmla="*/ 420298 h 1694229"/>
                  <a:gd name="connsiteX22" fmla="*/ 517724 w 1862201"/>
                  <a:gd name="connsiteY22" fmla="*/ 420641 h 1694229"/>
                  <a:gd name="connsiteX23" fmla="*/ 433847 w 1862201"/>
                  <a:gd name="connsiteY23" fmla="*/ 447350 h 1694229"/>
                  <a:gd name="connsiteX24" fmla="*/ 400628 w 1862201"/>
                  <a:gd name="connsiteY24" fmla="*/ 420298 h 1694229"/>
                  <a:gd name="connsiteX25" fmla="*/ 381578 w 1862201"/>
                  <a:gd name="connsiteY25" fmla="*/ 358385 h 1694229"/>
                  <a:gd name="connsiteX26" fmla="*/ 314903 w 1862201"/>
                  <a:gd name="connsiteY26" fmla="*/ 305998 h 1694229"/>
                  <a:gd name="connsiteX27" fmla="*/ 269718 w 1862201"/>
                  <a:gd name="connsiteY27" fmla="*/ 229110 h 1694229"/>
                  <a:gd name="connsiteX28" fmla="*/ 146368 w 1862201"/>
                  <a:gd name="connsiteY28" fmla="*/ 258373 h 1694229"/>
                  <a:gd name="connsiteX29" fmla="*/ 127318 w 1862201"/>
                  <a:gd name="connsiteY29" fmla="*/ 344785 h 1694229"/>
                  <a:gd name="connsiteX30" fmla="*/ 144758 w 1862201"/>
                  <a:gd name="connsiteY30" fmla="*/ 411312 h 1694229"/>
                  <a:gd name="connsiteX31" fmla="*/ 117319 w 1862201"/>
                  <a:gd name="connsiteY31" fmla="*/ 446172 h 1694229"/>
                  <a:gd name="connsiteX32" fmla="*/ 64931 w 1862201"/>
                  <a:gd name="connsiteY32" fmla="*/ 474059 h 1694229"/>
                  <a:gd name="connsiteX33" fmla="*/ 36830 w 1862201"/>
                  <a:gd name="connsiteY33" fmla="*/ 482063 h 1694229"/>
                  <a:gd name="connsiteX34" fmla="*/ 14865 w 1862201"/>
                  <a:gd name="connsiteY34" fmla="*/ 520310 h 1694229"/>
                  <a:gd name="connsiteX35" fmla="*/ 1053 w 1862201"/>
                  <a:gd name="connsiteY35" fmla="*/ 632745 h 1694229"/>
                  <a:gd name="connsiteX36" fmla="*/ 43440 w 1862201"/>
                  <a:gd name="connsiteY36" fmla="*/ 701285 h 1694229"/>
                  <a:gd name="connsiteX37" fmla="*/ 93031 w 1862201"/>
                  <a:gd name="connsiteY37" fmla="*/ 681547 h 1694229"/>
                  <a:gd name="connsiteX38" fmla="*/ 93388 w 1862201"/>
                  <a:gd name="connsiteY38" fmla="*/ 751806 h 1694229"/>
                  <a:gd name="connsiteX39" fmla="*/ 148215 w 1862201"/>
                  <a:gd name="connsiteY39" fmla="*/ 782248 h 1694229"/>
                  <a:gd name="connsiteX40" fmla="*/ 217213 w 1862201"/>
                  <a:gd name="connsiteY40" fmla="*/ 792460 h 1694229"/>
                  <a:gd name="connsiteX41" fmla="*/ 252516 w 1862201"/>
                  <a:gd name="connsiteY41" fmla="*/ 848431 h 1694229"/>
                  <a:gd name="connsiteX42" fmla="*/ 251923 w 1862201"/>
                  <a:gd name="connsiteY42" fmla="*/ 893503 h 1694229"/>
                  <a:gd name="connsiteX43" fmla="*/ 276447 w 1862201"/>
                  <a:gd name="connsiteY43" fmla="*/ 932978 h 1694229"/>
                  <a:gd name="connsiteX44" fmla="*/ 322105 w 1862201"/>
                  <a:gd name="connsiteY44" fmla="*/ 971570 h 1694229"/>
                  <a:gd name="connsiteX45" fmla="*/ 407238 w 1862201"/>
                  <a:gd name="connsiteY45" fmla="*/ 1025822 h 1694229"/>
                  <a:gd name="connsiteX46" fmla="*/ 443015 w 1862201"/>
                  <a:gd name="connsiteY46" fmla="*/ 1096915 h 1694229"/>
                  <a:gd name="connsiteX47" fmla="*/ 422118 w 1862201"/>
                  <a:gd name="connsiteY47" fmla="*/ 1166488 h 1694229"/>
                  <a:gd name="connsiteX48" fmla="*/ 500165 w 1862201"/>
                  <a:gd name="connsiteY48" fmla="*/ 1222951 h 1694229"/>
                  <a:gd name="connsiteX49" fmla="*/ 572197 w 1862201"/>
                  <a:gd name="connsiteY49" fmla="*/ 1255945 h 1694229"/>
                  <a:gd name="connsiteX50" fmla="*/ 553028 w 1862201"/>
                  <a:gd name="connsiteY50" fmla="*/ 1315648 h 1694229"/>
                  <a:gd name="connsiteX51" fmla="*/ 643515 w 1862201"/>
                  <a:gd name="connsiteY51" fmla="*/ 1468048 h 1694229"/>
                  <a:gd name="connsiteX52" fmla="*/ 736325 w 1862201"/>
                  <a:gd name="connsiteY52" fmla="*/ 1541202 h 1694229"/>
                  <a:gd name="connsiteX53" fmla="*/ 786390 w 1862201"/>
                  <a:gd name="connsiteY53" fmla="*/ 1491860 h 1694229"/>
                  <a:gd name="connsiteX54" fmla="*/ 850980 w 1862201"/>
                  <a:gd name="connsiteY54" fmla="*/ 1519257 h 1694229"/>
                  <a:gd name="connsiteX55" fmla="*/ 905453 w 1862201"/>
                  <a:gd name="connsiteY55" fmla="*/ 1487098 h 1694229"/>
                  <a:gd name="connsiteX56" fmla="*/ 922300 w 1862201"/>
                  <a:gd name="connsiteY56" fmla="*/ 1444922 h 1694229"/>
                  <a:gd name="connsiteX57" fmla="*/ 986177 w 1862201"/>
                  <a:gd name="connsiteY57" fmla="*/ 1531334 h 1694229"/>
                  <a:gd name="connsiteX58" fmla="*/ 1031244 w 1862201"/>
                  <a:gd name="connsiteY58" fmla="*/ 1602428 h 1694229"/>
                  <a:gd name="connsiteX59" fmla="*/ 1101190 w 1862201"/>
                  <a:gd name="connsiteY59" fmla="*/ 1693947 h 1694229"/>
                  <a:gd name="connsiteX60" fmla="*/ 1132088 w 1862201"/>
                  <a:gd name="connsiteY60" fmla="*/ 1630856 h 1694229"/>
                  <a:gd name="connsiteX61" fmla="*/ 1162747 w 1862201"/>
                  <a:gd name="connsiteY61" fmla="*/ 1624376 h 1694229"/>
                  <a:gd name="connsiteX62" fmla="*/ 1205846 w 1862201"/>
                  <a:gd name="connsiteY62" fmla="*/ 1653639 h 1694229"/>
                  <a:gd name="connsiteX63" fmla="*/ 1239421 w 1862201"/>
                  <a:gd name="connsiteY63" fmla="*/ 1612985 h 1694229"/>
                  <a:gd name="connsiteX64" fmla="*/ 1258242 w 1862201"/>
                  <a:gd name="connsiteY64" fmla="*/ 1617602 h 1694229"/>
                  <a:gd name="connsiteX65" fmla="*/ 1292284 w 1862201"/>
                  <a:gd name="connsiteY65" fmla="*/ 1684079 h 1694229"/>
                  <a:gd name="connsiteX66" fmla="*/ 1348840 w 1862201"/>
                  <a:gd name="connsiteY66" fmla="*/ 1660610 h 1694229"/>
                  <a:gd name="connsiteX67" fmla="*/ 1400872 w 1862201"/>
                  <a:gd name="connsiteY67" fmla="*/ 1604489 h 1694229"/>
                  <a:gd name="connsiteX68" fmla="*/ 1451649 w 1862201"/>
                  <a:gd name="connsiteY68" fmla="*/ 1587946 h 1694229"/>
                  <a:gd name="connsiteX69" fmla="*/ 1469328 w 1862201"/>
                  <a:gd name="connsiteY69" fmla="*/ 1643768 h 1694229"/>
                  <a:gd name="connsiteX70" fmla="*/ 1539223 w 1862201"/>
                  <a:gd name="connsiteY70" fmla="*/ 1618090 h 1694229"/>
                  <a:gd name="connsiteX71" fmla="*/ 1570001 w 1862201"/>
                  <a:gd name="connsiteY71" fmla="*/ 1531334 h 1694229"/>
                  <a:gd name="connsiteX72" fmla="*/ 1651437 w 1862201"/>
                  <a:gd name="connsiteY72" fmla="*/ 1441192 h 1694229"/>
                  <a:gd name="connsiteX73" fmla="*/ 1696028 w 1862201"/>
                  <a:gd name="connsiteY73" fmla="*/ 1410062 h 1694229"/>
                  <a:gd name="connsiteX74" fmla="*/ 1724397 w 1862201"/>
                  <a:gd name="connsiteY74" fmla="*/ 1413357 h 1694229"/>
                  <a:gd name="connsiteX75" fmla="*/ 1801989 w 1862201"/>
                  <a:gd name="connsiteY75" fmla="*/ 1402749 h 1694229"/>
                  <a:gd name="connsiteX76" fmla="*/ 1797108 w 1862201"/>
                  <a:gd name="connsiteY76" fmla="*/ 1456313 h 1694229"/>
                  <a:gd name="connsiteX77" fmla="*/ 1855275 w 1862201"/>
                  <a:gd name="connsiteY77" fmla="*/ 1479634 h 1694229"/>
                  <a:gd name="connsiteX78" fmla="*/ 1856883 w 1862201"/>
                  <a:gd name="connsiteY78" fmla="*/ 1457000 h 1694229"/>
                  <a:gd name="connsiteX79" fmla="*/ 1856105 w 1862201"/>
                  <a:gd name="connsiteY79" fmla="*/ 1396266 h 1694229"/>
                  <a:gd name="connsiteX80" fmla="*/ 1834140 w 1862201"/>
                  <a:gd name="connsiteY80" fmla="*/ 1306123 h 1694229"/>
                  <a:gd name="connsiteX81" fmla="*/ 1834140 w 1862201"/>
                  <a:gd name="connsiteY81" fmla="*/ 1248973 h 1694229"/>
                  <a:gd name="connsiteX82" fmla="*/ 1791278 w 1862201"/>
                  <a:gd name="connsiteY82" fmla="*/ 1239448 h 1694229"/>
                  <a:gd name="connsiteX83" fmla="*/ 1715078 w 1862201"/>
                  <a:gd name="connsiteY83" fmla="*/ 1158485 h 1694229"/>
                  <a:gd name="connsiteX84" fmla="*/ 1676978 w 1862201"/>
                  <a:gd name="connsiteY84" fmla="*/ 977510 h 1694229"/>
                  <a:gd name="connsiteX85" fmla="*/ 1624590 w 1862201"/>
                  <a:gd name="connsiteY85" fmla="*/ 944173 h 1694229"/>
                  <a:gd name="connsiteX86" fmla="*/ 1586490 w 1862201"/>
                  <a:gd name="connsiteY86" fmla="*/ 887023 h 1694229"/>
                  <a:gd name="connsiteX87" fmla="*/ 1538865 w 1862201"/>
                  <a:gd name="connsiteY87" fmla="*/ 839398 h 1694229"/>
                  <a:gd name="connsiteX88" fmla="*/ 1486478 w 1862201"/>
                  <a:gd name="connsiteY88" fmla="*/ 820348 h 1694229"/>
                  <a:gd name="connsiteX89" fmla="*/ 1434090 w 1862201"/>
                  <a:gd name="connsiteY89" fmla="*/ 815585 h 1694229"/>
                  <a:gd name="connsiteX90" fmla="*/ 1491240 w 1862201"/>
                  <a:gd name="connsiteY90" fmla="*/ 782248 h 1694229"/>
                  <a:gd name="connsiteX91" fmla="*/ 1457903 w 1862201"/>
                  <a:gd name="connsiteY91" fmla="*/ 748910 h 1694229"/>
                  <a:gd name="connsiteX92" fmla="*/ 1462665 w 1862201"/>
                  <a:gd name="connsiteY92" fmla="*/ 725098 h 1694229"/>
                  <a:gd name="connsiteX93" fmla="*/ 1553153 w 1862201"/>
                  <a:gd name="connsiteY93" fmla="*/ 763198 h 1694229"/>
                  <a:gd name="connsiteX94" fmla="*/ 1605540 w 1862201"/>
                  <a:gd name="connsiteY94" fmla="*/ 696523 h 1694229"/>
                  <a:gd name="connsiteX95" fmla="*/ 1603337 w 1862201"/>
                  <a:gd name="connsiteY95" fmla="*/ 553648 h 1694229"/>
                  <a:gd name="connsiteX96" fmla="*/ 1620540 w 1862201"/>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93447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86894 w 1862617"/>
                  <a:gd name="connsiteY88" fmla="*/ 82034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553569 w 1862617"/>
                  <a:gd name="connsiteY93" fmla="*/ 763198 h 1694229"/>
                  <a:gd name="connsiteX94" fmla="*/ 1605956 w 1862617"/>
                  <a:gd name="connsiteY94" fmla="*/ 696523 h 1694229"/>
                  <a:gd name="connsiteX95" fmla="*/ 1603753 w 1862617"/>
                  <a:gd name="connsiteY95" fmla="*/ 553648 h 1694229"/>
                  <a:gd name="connsiteX96" fmla="*/ 1620956 w 1862617"/>
                  <a:gd name="connsiteY96"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53569 w 1862617"/>
                  <a:gd name="connsiteY94" fmla="*/ 763198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05956 w 1862617"/>
                  <a:gd name="connsiteY95" fmla="*/ 696523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91656 w 1862617"/>
                  <a:gd name="connsiteY90" fmla="*/ 782248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34506 w 1862617"/>
                  <a:gd name="connsiteY89" fmla="*/ 81558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39281 w 1862617"/>
                  <a:gd name="connsiteY87" fmla="*/ 839398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86906 w 1862617"/>
                  <a:gd name="connsiteY86" fmla="*/ 887023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5006 w 1862617"/>
                  <a:gd name="connsiteY85" fmla="*/ 944173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677394 w 1862617"/>
                  <a:gd name="connsiteY84" fmla="*/ 977510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15494 w 1862617"/>
                  <a:gd name="connsiteY83" fmla="*/ 1158485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91694 w 1862617"/>
                  <a:gd name="connsiteY82" fmla="*/ 1239448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62617"/>
                  <a:gd name="connsiteY0" fmla="*/ 405322 h 1694229"/>
                  <a:gd name="connsiteX1" fmla="*/ 1548806 w 1862617"/>
                  <a:gd name="connsiteY1" fmla="*/ 372673 h 1694229"/>
                  <a:gd name="connsiteX2" fmla="*/ 1458557 w 1862617"/>
                  <a:gd name="connsiteY2" fmla="*/ 348860 h 1694229"/>
                  <a:gd name="connsiteX3" fmla="*/ 1405237 w 1862617"/>
                  <a:gd name="connsiteY3" fmla="*/ 271776 h 1694229"/>
                  <a:gd name="connsiteX4" fmla="*/ 1382136 w 1862617"/>
                  <a:gd name="connsiteY4" fmla="*/ 169931 h 1694229"/>
                  <a:gd name="connsiteX5" fmla="*/ 1346239 w 1862617"/>
                  <a:gd name="connsiteY5" fmla="*/ 1869 h 1694229"/>
                  <a:gd name="connsiteX6" fmla="*/ 1278870 w 1862617"/>
                  <a:gd name="connsiteY6" fmla="*/ 43567 h 1694229"/>
                  <a:gd name="connsiteX7" fmla="*/ 1273302 w 1862617"/>
                  <a:gd name="connsiteY7" fmla="*/ 101090 h 1694229"/>
                  <a:gd name="connsiteX8" fmla="*/ 1257397 w 1862617"/>
                  <a:gd name="connsiteY8" fmla="*/ 152303 h 1694229"/>
                  <a:gd name="connsiteX9" fmla="*/ 1237872 w 1862617"/>
                  <a:gd name="connsiteY9" fmla="*/ 204316 h 1694229"/>
                  <a:gd name="connsiteX10" fmla="*/ 1236143 w 1862617"/>
                  <a:gd name="connsiteY10" fmla="*/ 273739 h 1694229"/>
                  <a:gd name="connsiteX11" fmla="*/ 1163162 w 1862617"/>
                  <a:gd name="connsiteY11" fmla="*/ 283903 h 1694229"/>
                  <a:gd name="connsiteX12" fmla="*/ 1098809 w 1862617"/>
                  <a:gd name="connsiteY12" fmla="*/ 285917 h 1694229"/>
                  <a:gd name="connsiteX13" fmla="*/ 1051208 w 1862617"/>
                  <a:gd name="connsiteY13" fmla="*/ 346183 h 1694229"/>
                  <a:gd name="connsiteX14" fmla="*/ 996593 w 1862617"/>
                  <a:gd name="connsiteY14" fmla="*/ 371690 h 1694229"/>
                  <a:gd name="connsiteX15" fmla="*/ 943969 w 1862617"/>
                  <a:gd name="connsiteY15" fmla="*/ 358385 h 1694229"/>
                  <a:gd name="connsiteX16" fmla="*/ 837229 w 1862617"/>
                  <a:gd name="connsiteY16" fmla="*/ 376257 h 1694229"/>
                  <a:gd name="connsiteX17" fmla="*/ 814246 w 1862617"/>
                  <a:gd name="connsiteY17" fmla="*/ 440035 h 1694229"/>
                  <a:gd name="connsiteX18" fmla="*/ 797163 w 1862617"/>
                  <a:gd name="connsiteY18" fmla="*/ 475926 h 1694229"/>
                  <a:gd name="connsiteX19" fmla="*/ 715132 w 1862617"/>
                  <a:gd name="connsiteY19" fmla="*/ 494632 h 1694229"/>
                  <a:gd name="connsiteX20" fmla="*/ 697320 w 1862617"/>
                  <a:gd name="connsiteY20" fmla="*/ 440647 h 1694229"/>
                  <a:gd name="connsiteX21" fmla="*/ 653456 w 1862617"/>
                  <a:gd name="connsiteY21" fmla="*/ 420298 h 1694229"/>
                  <a:gd name="connsiteX22" fmla="*/ 518140 w 1862617"/>
                  <a:gd name="connsiteY22" fmla="*/ 420641 h 1694229"/>
                  <a:gd name="connsiteX23" fmla="*/ 434263 w 1862617"/>
                  <a:gd name="connsiteY23" fmla="*/ 447350 h 1694229"/>
                  <a:gd name="connsiteX24" fmla="*/ 401044 w 1862617"/>
                  <a:gd name="connsiteY24" fmla="*/ 420298 h 1694229"/>
                  <a:gd name="connsiteX25" fmla="*/ 381994 w 1862617"/>
                  <a:gd name="connsiteY25" fmla="*/ 358385 h 1694229"/>
                  <a:gd name="connsiteX26" fmla="*/ 315319 w 1862617"/>
                  <a:gd name="connsiteY26" fmla="*/ 305998 h 1694229"/>
                  <a:gd name="connsiteX27" fmla="*/ 270134 w 1862617"/>
                  <a:gd name="connsiteY27" fmla="*/ 229110 h 1694229"/>
                  <a:gd name="connsiteX28" fmla="*/ 146784 w 1862617"/>
                  <a:gd name="connsiteY28" fmla="*/ 258373 h 1694229"/>
                  <a:gd name="connsiteX29" fmla="*/ 127734 w 1862617"/>
                  <a:gd name="connsiteY29" fmla="*/ 344785 h 1694229"/>
                  <a:gd name="connsiteX30" fmla="*/ 145174 w 1862617"/>
                  <a:gd name="connsiteY30" fmla="*/ 411312 h 1694229"/>
                  <a:gd name="connsiteX31" fmla="*/ 117735 w 1862617"/>
                  <a:gd name="connsiteY31" fmla="*/ 446172 h 1694229"/>
                  <a:gd name="connsiteX32" fmla="*/ 65347 w 1862617"/>
                  <a:gd name="connsiteY32" fmla="*/ 474059 h 1694229"/>
                  <a:gd name="connsiteX33" fmla="*/ 37246 w 1862617"/>
                  <a:gd name="connsiteY33" fmla="*/ 482063 h 1694229"/>
                  <a:gd name="connsiteX34" fmla="*/ 15281 w 1862617"/>
                  <a:gd name="connsiteY34" fmla="*/ 520310 h 1694229"/>
                  <a:gd name="connsiteX35" fmla="*/ 1469 w 1862617"/>
                  <a:gd name="connsiteY35" fmla="*/ 632745 h 1694229"/>
                  <a:gd name="connsiteX36" fmla="*/ 51178 w 1862617"/>
                  <a:gd name="connsiteY36" fmla="*/ 685967 h 1694229"/>
                  <a:gd name="connsiteX37" fmla="*/ 108092 w 1862617"/>
                  <a:gd name="connsiteY37" fmla="*/ 681547 h 1694229"/>
                  <a:gd name="connsiteX38" fmla="*/ 93804 w 1862617"/>
                  <a:gd name="connsiteY38" fmla="*/ 751806 h 1694229"/>
                  <a:gd name="connsiteX39" fmla="*/ 148631 w 1862617"/>
                  <a:gd name="connsiteY39" fmla="*/ 782248 h 1694229"/>
                  <a:gd name="connsiteX40" fmla="*/ 217629 w 1862617"/>
                  <a:gd name="connsiteY40" fmla="*/ 792460 h 1694229"/>
                  <a:gd name="connsiteX41" fmla="*/ 252932 w 1862617"/>
                  <a:gd name="connsiteY41" fmla="*/ 848431 h 1694229"/>
                  <a:gd name="connsiteX42" fmla="*/ 252339 w 1862617"/>
                  <a:gd name="connsiteY42" fmla="*/ 893503 h 1694229"/>
                  <a:gd name="connsiteX43" fmla="*/ 276863 w 1862617"/>
                  <a:gd name="connsiteY43" fmla="*/ 932978 h 1694229"/>
                  <a:gd name="connsiteX44" fmla="*/ 322521 w 1862617"/>
                  <a:gd name="connsiteY44" fmla="*/ 971570 h 1694229"/>
                  <a:gd name="connsiteX45" fmla="*/ 407654 w 1862617"/>
                  <a:gd name="connsiteY45" fmla="*/ 1025822 h 1694229"/>
                  <a:gd name="connsiteX46" fmla="*/ 443431 w 1862617"/>
                  <a:gd name="connsiteY46" fmla="*/ 1096915 h 1694229"/>
                  <a:gd name="connsiteX47" fmla="*/ 422534 w 1862617"/>
                  <a:gd name="connsiteY47" fmla="*/ 1166488 h 1694229"/>
                  <a:gd name="connsiteX48" fmla="*/ 500581 w 1862617"/>
                  <a:gd name="connsiteY48" fmla="*/ 1222951 h 1694229"/>
                  <a:gd name="connsiteX49" fmla="*/ 572613 w 1862617"/>
                  <a:gd name="connsiteY49" fmla="*/ 1255945 h 1694229"/>
                  <a:gd name="connsiteX50" fmla="*/ 553444 w 1862617"/>
                  <a:gd name="connsiteY50" fmla="*/ 1315648 h 1694229"/>
                  <a:gd name="connsiteX51" fmla="*/ 643931 w 1862617"/>
                  <a:gd name="connsiteY51" fmla="*/ 1468048 h 1694229"/>
                  <a:gd name="connsiteX52" fmla="*/ 736741 w 1862617"/>
                  <a:gd name="connsiteY52" fmla="*/ 1541202 h 1694229"/>
                  <a:gd name="connsiteX53" fmla="*/ 786806 w 1862617"/>
                  <a:gd name="connsiteY53" fmla="*/ 1491860 h 1694229"/>
                  <a:gd name="connsiteX54" fmla="*/ 851396 w 1862617"/>
                  <a:gd name="connsiteY54" fmla="*/ 1519257 h 1694229"/>
                  <a:gd name="connsiteX55" fmla="*/ 905869 w 1862617"/>
                  <a:gd name="connsiteY55" fmla="*/ 1487098 h 1694229"/>
                  <a:gd name="connsiteX56" fmla="*/ 922716 w 1862617"/>
                  <a:gd name="connsiteY56" fmla="*/ 1444922 h 1694229"/>
                  <a:gd name="connsiteX57" fmla="*/ 986593 w 1862617"/>
                  <a:gd name="connsiteY57" fmla="*/ 1531334 h 1694229"/>
                  <a:gd name="connsiteX58" fmla="*/ 1031660 w 1862617"/>
                  <a:gd name="connsiteY58" fmla="*/ 1602428 h 1694229"/>
                  <a:gd name="connsiteX59" fmla="*/ 1101606 w 1862617"/>
                  <a:gd name="connsiteY59" fmla="*/ 1693947 h 1694229"/>
                  <a:gd name="connsiteX60" fmla="*/ 1132504 w 1862617"/>
                  <a:gd name="connsiteY60" fmla="*/ 1630856 h 1694229"/>
                  <a:gd name="connsiteX61" fmla="*/ 1163163 w 1862617"/>
                  <a:gd name="connsiteY61" fmla="*/ 1624376 h 1694229"/>
                  <a:gd name="connsiteX62" fmla="*/ 1206262 w 1862617"/>
                  <a:gd name="connsiteY62" fmla="*/ 1653639 h 1694229"/>
                  <a:gd name="connsiteX63" fmla="*/ 1239837 w 1862617"/>
                  <a:gd name="connsiteY63" fmla="*/ 1612985 h 1694229"/>
                  <a:gd name="connsiteX64" fmla="*/ 1258658 w 1862617"/>
                  <a:gd name="connsiteY64" fmla="*/ 1617602 h 1694229"/>
                  <a:gd name="connsiteX65" fmla="*/ 1292700 w 1862617"/>
                  <a:gd name="connsiteY65" fmla="*/ 1684079 h 1694229"/>
                  <a:gd name="connsiteX66" fmla="*/ 1349256 w 1862617"/>
                  <a:gd name="connsiteY66" fmla="*/ 1660610 h 1694229"/>
                  <a:gd name="connsiteX67" fmla="*/ 1401288 w 1862617"/>
                  <a:gd name="connsiteY67" fmla="*/ 1604489 h 1694229"/>
                  <a:gd name="connsiteX68" fmla="*/ 1452065 w 1862617"/>
                  <a:gd name="connsiteY68" fmla="*/ 1587946 h 1694229"/>
                  <a:gd name="connsiteX69" fmla="*/ 1469744 w 1862617"/>
                  <a:gd name="connsiteY69" fmla="*/ 1643768 h 1694229"/>
                  <a:gd name="connsiteX70" fmla="*/ 1539639 w 1862617"/>
                  <a:gd name="connsiteY70" fmla="*/ 1618090 h 1694229"/>
                  <a:gd name="connsiteX71" fmla="*/ 1570417 w 1862617"/>
                  <a:gd name="connsiteY71" fmla="*/ 1531334 h 1694229"/>
                  <a:gd name="connsiteX72" fmla="*/ 1651853 w 1862617"/>
                  <a:gd name="connsiteY72" fmla="*/ 1441192 h 1694229"/>
                  <a:gd name="connsiteX73" fmla="*/ 1696444 w 1862617"/>
                  <a:gd name="connsiteY73" fmla="*/ 1410062 h 1694229"/>
                  <a:gd name="connsiteX74" fmla="*/ 1724813 w 1862617"/>
                  <a:gd name="connsiteY74" fmla="*/ 1413357 h 1694229"/>
                  <a:gd name="connsiteX75" fmla="*/ 1802405 w 1862617"/>
                  <a:gd name="connsiteY75" fmla="*/ 1402749 h 1694229"/>
                  <a:gd name="connsiteX76" fmla="*/ 1797524 w 1862617"/>
                  <a:gd name="connsiteY76" fmla="*/ 1456313 h 1694229"/>
                  <a:gd name="connsiteX77" fmla="*/ 1855691 w 1862617"/>
                  <a:gd name="connsiteY77" fmla="*/ 1479634 h 1694229"/>
                  <a:gd name="connsiteX78" fmla="*/ 1857299 w 1862617"/>
                  <a:gd name="connsiteY78" fmla="*/ 1457000 h 1694229"/>
                  <a:gd name="connsiteX79" fmla="*/ 1856521 w 1862617"/>
                  <a:gd name="connsiteY79" fmla="*/ 1396266 h 1694229"/>
                  <a:gd name="connsiteX80" fmla="*/ 1834556 w 1862617"/>
                  <a:gd name="connsiteY80" fmla="*/ 1306123 h 1694229"/>
                  <a:gd name="connsiteX81" fmla="*/ 1834556 w 1862617"/>
                  <a:gd name="connsiteY81" fmla="*/ 1248973 h 1694229"/>
                  <a:gd name="connsiteX82" fmla="*/ 1747763 w 1862617"/>
                  <a:gd name="connsiteY82" fmla="*/ 1264979 h 1694229"/>
                  <a:gd name="connsiteX83" fmla="*/ 1737459 w 1862617"/>
                  <a:gd name="connsiteY83" fmla="*/ 1176356 h 1694229"/>
                  <a:gd name="connsiteX84" fmla="*/ 1704241 w 1862617"/>
                  <a:gd name="connsiteY84" fmla="*/ 1038783 h 1694229"/>
                  <a:gd name="connsiteX85" fmla="*/ 1627446 w 1862617"/>
                  <a:gd name="connsiteY85" fmla="*/ 972257 h 1694229"/>
                  <a:gd name="connsiteX86" fmla="*/ 1594228 w 1862617"/>
                  <a:gd name="connsiteY86" fmla="*/ 917660 h 1694229"/>
                  <a:gd name="connsiteX87" fmla="*/ 1544162 w 1862617"/>
                  <a:gd name="connsiteY87" fmla="*/ 872587 h 1694229"/>
                  <a:gd name="connsiteX88" fmla="*/ 1472251 w 1862617"/>
                  <a:gd name="connsiteY88" fmla="*/ 845878 h 1694229"/>
                  <a:gd name="connsiteX89" fmla="*/ 1449150 w 1862617"/>
                  <a:gd name="connsiteY89" fmla="*/ 823245 h 1694229"/>
                  <a:gd name="connsiteX90" fmla="*/ 1477013 w 1862617"/>
                  <a:gd name="connsiteY90" fmla="*/ 784801 h 1694229"/>
                  <a:gd name="connsiteX91" fmla="*/ 1458319 w 1862617"/>
                  <a:gd name="connsiteY91" fmla="*/ 748910 h 1694229"/>
                  <a:gd name="connsiteX92" fmla="*/ 1463081 w 1862617"/>
                  <a:gd name="connsiteY92" fmla="*/ 725098 h 1694229"/>
                  <a:gd name="connsiteX93" fmla="*/ 1488076 w 1862617"/>
                  <a:gd name="connsiteY93" fmla="*/ 724035 h 1694229"/>
                  <a:gd name="connsiteX94" fmla="*/ 1580416 w 1862617"/>
                  <a:gd name="connsiteY94" fmla="*/ 740220 h 1694229"/>
                  <a:gd name="connsiteX95" fmla="*/ 1615719 w 1862617"/>
                  <a:gd name="connsiteY95" fmla="*/ 683758 h 1694229"/>
                  <a:gd name="connsiteX96" fmla="*/ 1603753 w 1862617"/>
                  <a:gd name="connsiteY96" fmla="*/ 553648 h 1694229"/>
                  <a:gd name="connsiteX97" fmla="*/ 1620956 w 1862617"/>
                  <a:gd name="connsiteY97" fmla="*/ 405322 h 1694229"/>
                  <a:gd name="connsiteX0" fmla="*/ 1620956 w 1878075"/>
                  <a:gd name="connsiteY0" fmla="*/ 405322 h 1694229"/>
                  <a:gd name="connsiteX1" fmla="*/ 1548806 w 1878075"/>
                  <a:gd name="connsiteY1" fmla="*/ 372673 h 1694229"/>
                  <a:gd name="connsiteX2" fmla="*/ 1458557 w 1878075"/>
                  <a:gd name="connsiteY2" fmla="*/ 348860 h 1694229"/>
                  <a:gd name="connsiteX3" fmla="*/ 1405237 w 1878075"/>
                  <a:gd name="connsiteY3" fmla="*/ 271776 h 1694229"/>
                  <a:gd name="connsiteX4" fmla="*/ 1382136 w 1878075"/>
                  <a:gd name="connsiteY4" fmla="*/ 169931 h 1694229"/>
                  <a:gd name="connsiteX5" fmla="*/ 1346239 w 1878075"/>
                  <a:gd name="connsiteY5" fmla="*/ 1869 h 1694229"/>
                  <a:gd name="connsiteX6" fmla="*/ 1278870 w 1878075"/>
                  <a:gd name="connsiteY6" fmla="*/ 43567 h 1694229"/>
                  <a:gd name="connsiteX7" fmla="*/ 1273302 w 1878075"/>
                  <a:gd name="connsiteY7" fmla="*/ 101090 h 1694229"/>
                  <a:gd name="connsiteX8" fmla="*/ 1257397 w 1878075"/>
                  <a:gd name="connsiteY8" fmla="*/ 152303 h 1694229"/>
                  <a:gd name="connsiteX9" fmla="*/ 1237872 w 1878075"/>
                  <a:gd name="connsiteY9" fmla="*/ 204316 h 1694229"/>
                  <a:gd name="connsiteX10" fmla="*/ 1236143 w 1878075"/>
                  <a:gd name="connsiteY10" fmla="*/ 273739 h 1694229"/>
                  <a:gd name="connsiteX11" fmla="*/ 1163162 w 1878075"/>
                  <a:gd name="connsiteY11" fmla="*/ 283903 h 1694229"/>
                  <a:gd name="connsiteX12" fmla="*/ 1098809 w 1878075"/>
                  <a:gd name="connsiteY12" fmla="*/ 285917 h 1694229"/>
                  <a:gd name="connsiteX13" fmla="*/ 1051208 w 1878075"/>
                  <a:gd name="connsiteY13" fmla="*/ 346183 h 1694229"/>
                  <a:gd name="connsiteX14" fmla="*/ 996593 w 1878075"/>
                  <a:gd name="connsiteY14" fmla="*/ 371690 h 1694229"/>
                  <a:gd name="connsiteX15" fmla="*/ 943969 w 1878075"/>
                  <a:gd name="connsiteY15" fmla="*/ 358385 h 1694229"/>
                  <a:gd name="connsiteX16" fmla="*/ 837229 w 1878075"/>
                  <a:gd name="connsiteY16" fmla="*/ 376257 h 1694229"/>
                  <a:gd name="connsiteX17" fmla="*/ 814246 w 1878075"/>
                  <a:gd name="connsiteY17" fmla="*/ 440035 h 1694229"/>
                  <a:gd name="connsiteX18" fmla="*/ 797163 w 1878075"/>
                  <a:gd name="connsiteY18" fmla="*/ 475926 h 1694229"/>
                  <a:gd name="connsiteX19" fmla="*/ 715132 w 1878075"/>
                  <a:gd name="connsiteY19" fmla="*/ 494632 h 1694229"/>
                  <a:gd name="connsiteX20" fmla="*/ 697320 w 1878075"/>
                  <a:gd name="connsiteY20" fmla="*/ 440647 h 1694229"/>
                  <a:gd name="connsiteX21" fmla="*/ 653456 w 1878075"/>
                  <a:gd name="connsiteY21" fmla="*/ 420298 h 1694229"/>
                  <a:gd name="connsiteX22" fmla="*/ 518140 w 1878075"/>
                  <a:gd name="connsiteY22" fmla="*/ 420641 h 1694229"/>
                  <a:gd name="connsiteX23" fmla="*/ 434263 w 1878075"/>
                  <a:gd name="connsiteY23" fmla="*/ 447350 h 1694229"/>
                  <a:gd name="connsiteX24" fmla="*/ 401044 w 1878075"/>
                  <a:gd name="connsiteY24" fmla="*/ 420298 h 1694229"/>
                  <a:gd name="connsiteX25" fmla="*/ 381994 w 1878075"/>
                  <a:gd name="connsiteY25" fmla="*/ 358385 h 1694229"/>
                  <a:gd name="connsiteX26" fmla="*/ 315319 w 1878075"/>
                  <a:gd name="connsiteY26" fmla="*/ 305998 h 1694229"/>
                  <a:gd name="connsiteX27" fmla="*/ 270134 w 1878075"/>
                  <a:gd name="connsiteY27" fmla="*/ 229110 h 1694229"/>
                  <a:gd name="connsiteX28" fmla="*/ 146784 w 1878075"/>
                  <a:gd name="connsiteY28" fmla="*/ 258373 h 1694229"/>
                  <a:gd name="connsiteX29" fmla="*/ 127734 w 1878075"/>
                  <a:gd name="connsiteY29" fmla="*/ 344785 h 1694229"/>
                  <a:gd name="connsiteX30" fmla="*/ 145174 w 1878075"/>
                  <a:gd name="connsiteY30" fmla="*/ 411312 h 1694229"/>
                  <a:gd name="connsiteX31" fmla="*/ 117735 w 1878075"/>
                  <a:gd name="connsiteY31" fmla="*/ 446172 h 1694229"/>
                  <a:gd name="connsiteX32" fmla="*/ 65347 w 1878075"/>
                  <a:gd name="connsiteY32" fmla="*/ 474059 h 1694229"/>
                  <a:gd name="connsiteX33" fmla="*/ 37246 w 1878075"/>
                  <a:gd name="connsiteY33" fmla="*/ 482063 h 1694229"/>
                  <a:gd name="connsiteX34" fmla="*/ 15281 w 1878075"/>
                  <a:gd name="connsiteY34" fmla="*/ 520310 h 1694229"/>
                  <a:gd name="connsiteX35" fmla="*/ 1469 w 1878075"/>
                  <a:gd name="connsiteY35" fmla="*/ 632745 h 1694229"/>
                  <a:gd name="connsiteX36" fmla="*/ 51178 w 1878075"/>
                  <a:gd name="connsiteY36" fmla="*/ 685967 h 1694229"/>
                  <a:gd name="connsiteX37" fmla="*/ 108092 w 1878075"/>
                  <a:gd name="connsiteY37" fmla="*/ 681547 h 1694229"/>
                  <a:gd name="connsiteX38" fmla="*/ 93804 w 1878075"/>
                  <a:gd name="connsiteY38" fmla="*/ 751806 h 1694229"/>
                  <a:gd name="connsiteX39" fmla="*/ 148631 w 1878075"/>
                  <a:gd name="connsiteY39" fmla="*/ 782248 h 1694229"/>
                  <a:gd name="connsiteX40" fmla="*/ 217629 w 1878075"/>
                  <a:gd name="connsiteY40" fmla="*/ 792460 h 1694229"/>
                  <a:gd name="connsiteX41" fmla="*/ 252932 w 1878075"/>
                  <a:gd name="connsiteY41" fmla="*/ 848431 h 1694229"/>
                  <a:gd name="connsiteX42" fmla="*/ 252339 w 1878075"/>
                  <a:gd name="connsiteY42" fmla="*/ 893503 h 1694229"/>
                  <a:gd name="connsiteX43" fmla="*/ 276863 w 1878075"/>
                  <a:gd name="connsiteY43" fmla="*/ 932978 h 1694229"/>
                  <a:gd name="connsiteX44" fmla="*/ 322521 w 1878075"/>
                  <a:gd name="connsiteY44" fmla="*/ 971570 h 1694229"/>
                  <a:gd name="connsiteX45" fmla="*/ 407654 w 1878075"/>
                  <a:gd name="connsiteY45" fmla="*/ 1025822 h 1694229"/>
                  <a:gd name="connsiteX46" fmla="*/ 443431 w 1878075"/>
                  <a:gd name="connsiteY46" fmla="*/ 1096915 h 1694229"/>
                  <a:gd name="connsiteX47" fmla="*/ 422534 w 1878075"/>
                  <a:gd name="connsiteY47" fmla="*/ 1166488 h 1694229"/>
                  <a:gd name="connsiteX48" fmla="*/ 500581 w 1878075"/>
                  <a:gd name="connsiteY48" fmla="*/ 1222951 h 1694229"/>
                  <a:gd name="connsiteX49" fmla="*/ 572613 w 1878075"/>
                  <a:gd name="connsiteY49" fmla="*/ 1255945 h 1694229"/>
                  <a:gd name="connsiteX50" fmla="*/ 553444 w 1878075"/>
                  <a:gd name="connsiteY50" fmla="*/ 1315648 h 1694229"/>
                  <a:gd name="connsiteX51" fmla="*/ 643931 w 1878075"/>
                  <a:gd name="connsiteY51" fmla="*/ 1468048 h 1694229"/>
                  <a:gd name="connsiteX52" fmla="*/ 736741 w 1878075"/>
                  <a:gd name="connsiteY52" fmla="*/ 1541202 h 1694229"/>
                  <a:gd name="connsiteX53" fmla="*/ 786806 w 1878075"/>
                  <a:gd name="connsiteY53" fmla="*/ 1491860 h 1694229"/>
                  <a:gd name="connsiteX54" fmla="*/ 851396 w 1878075"/>
                  <a:gd name="connsiteY54" fmla="*/ 1519257 h 1694229"/>
                  <a:gd name="connsiteX55" fmla="*/ 905869 w 1878075"/>
                  <a:gd name="connsiteY55" fmla="*/ 1487098 h 1694229"/>
                  <a:gd name="connsiteX56" fmla="*/ 922716 w 1878075"/>
                  <a:gd name="connsiteY56" fmla="*/ 1444922 h 1694229"/>
                  <a:gd name="connsiteX57" fmla="*/ 986593 w 1878075"/>
                  <a:gd name="connsiteY57" fmla="*/ 1531334 h 1694229"/>
                  <a:gd name="connsiteX58" fmla="*/ 1031660 w 1878075"/>
                  <a:gd name="connsiteY58" fmla="*/ 1602428 h 1694229"/>
                  <a:gd name="connsiteX59" fmla="*/ 1101606 w 1878075"/>
                  <a:gd name="connsiteY59" fmla="*/ 1693947 h 1694229"/>
                  <a:gd name="connsiteX60" fmla="*/ 1132504 w 1878075"/>
                  <a:gd name="connsiteY60" fmla="*/ 1630856 h 1694229"/>
                  <a:gd name="connsiteX61" fmla="*/ 1163163 w 1878075"/>
                  <a:gd name="connsiteY61" fmla="*/ 1624376 h 1694229"/>
                  <a:gd name="connsiteX62" fmla="*/ 1206262 w 1878075"/>
                  <a:gd name="connsiteY62" fmla="*/ 1653639 h 1694229"/>
                  <a:gd name="connsiteX63" fmla="*/ 1239837 w 1878075"/>
                  <a:gd name="connsiteY63" fmla="*/ 1612985 h 1694229"/>
                  <a:gd name="connsiteX64" fmla="*/ 1258658 w 1878075"/>
                  <a:gd name="connsiteY64" fmla="*/ 1617602 h 1694229"/>
                  <a:gd name="connsiteX65" fmla="*/ 1292700 w 1878075"/>
                  <a:gd name="connsiteY65" fmla="*/ 1684079 h 1694229"/>
                  <a:gd name="connsiteX66" fmla="*/ 1349256 w 1878075"/>
                  <a:gd name="connsiteY66" fmla="*/ 1660610 h 1694229"/>
                  <a:gd name="connsiteX67" fmla="*/ 1401288 w 1878075"/>
                  <a:gd name="connsiteY67" fmla="*/ 1604489 h 1694229"/>
                  <a:gd name="connsiteX68" fmla="*/ 1452065 w 1878075"/>
                  <a:gd name="connsiteY68" fmla="*/ 1587946 h 1694229"/>
                  <a:gd name="connsiteX69" fmla="*/ 1469744 w 1878075"/>
                  <a:gd name="connsiteY69" fmla="*/ 1643768 h 1694229"/>
                  <a:gd name="connsiteX70" fmla="*/ 1539639 w 1878075"/>
                  <a:gd name="connsiteY70" fmla="*/ 1618090 h 1694229"/>
                  <a:gd name="connsiteX71" fmla="*/ 1570417 w 1878075"/>
                  <a:gd name="connsiteY71" fmla="*/ 1531334 h 1694229"/>
                  <a:gd name="connsiteX72" fmla="*/ 1651853 w 1878075"/>
                  <a:gd name="connsiteY72" fmla="*/ 1441192 h 1694229"/>
                  <a:gd name="connsiteX73" fmla="*/ 1696444 w 1878075"/>
                  <a:gd name="connsiteY73" fmla="*/ 1410062 h 1694229"/>
                  <a:gd name="connsiteX74" fmla="*/ 1724813 w 1878075"/>
                  <a:gd name="connsiteY74" fmla="*/ 1413357 h 1694229"/>
                  <a:gd name="connsiteX75" fmla="*/ 1802405 w 1878075"/>
                  <a:gd name="connsiteY75" fmla="*/ 1402749 h 1694229"/>
                  <a:gd name="connsiteX76" fmla="*/ 1797524 w 1878075"/>
                  <a:gd name="connsiteY76" fmla="*/ 1456313 h 1694229"/>
                  <a:gd name="connsiteX77" fmla="*/ 1855691 w 1878075"/>
                  <a:gd name="connsiteY77" fmla="*/ 1479634 h 1694229"/>
                  <a:gd name="connsiteX78" fmla="*/ 1857299 w 1878075"/>
                  <a:gd name="connsiteY78" fmla="*/ 1457000 h 1694229"/>
                  <a:gd name="connsiteX79" fmla="*/ 1856521 w 1878075"/>
                  <a:gd name="connsiteY79" fmla="*/ 1396266 h 1694229"/>
                  <a:gd name="connsiteX80" fmla="*/ 1863843 w 1878075"/>
                  <a:gd name="connsiteY80" fmla="*/ 1323993 h 1694229"/>
                  <a:gd name="connsiteX81" fmla="*/ 1834556 w 1878075"/>
                  <a:gd name="connsiteY81" fmla="*/ 1248973 h 1694229"/>
                  <a:gd name="connsiteX82" fmla="*/ 1747763 w 1878075"/>
                  <a:gd name="connsiteY82" fmla="*/ 1264979 h 1694229"/>
                  <a:gd name="connsiteX83" fmla="*/ 1737459 w 1878075"/>
                  <a:gd name="connsiteY83" fmla="*/ 1176356 h 1694229"/>
                  <a:gd name="connsiteX84" fmla="*/ 1704241 w 1878075"/>
                  <a:gd name="connsiteY84" fmla="*/ 1038783 h 1694229"/>
                  <a:gd name="connsiteX85" fmla="*/ 1627446 w 1878075"/>
                  <a:gd name="connsiteY85" fmla="*/ 972257 h 1694229"/>
                  <a:gd name="connsiteX86" fmla="*/ 1594228 w 1878075"/>
                  <a:gd name="connsiteY86" fmla="*/ 917660 h 1694229"/>
                  <a:gd name="connsiteX87" fmla="*/ 1544162 w 1878075"/>
                  <a:gd name="connsiteY87" fmla="*/ 872587 h 1694229"/>
                  <a:gd name="connsiteX88" fmla="*/ 1472251 w 1878075"/>
                  <a:gd name="connsiteY88" fmla="*/ 845878 h 1694229"/>
                  <a:gd name="connsiteX89" fmla="*/ 1449150 w 1878075"/>
                  <a:gd name="connsiteY89" fmla="*/ 823245 h 1694229"/>
                  <a:gd name="connsiteX90" fmla="*/ 1477013 w 1878075"/>
                  <a:gd name="connsiteY90" fmla="*/ 784801 h 1694229"/>
                  <a:gd name="connsiteX91" fmla="*/ 1458319 w 1878075"/>
                  <a:gd name="connsiteY91" fmla="*/ 748910 h 1694229"/>
                  <a:gd name="connsiteX92" fmla="*/ 1463081 w 1878075"/>
                  <a:gd name="connsiteY92" fmla="*/ 725098 h 1694229"/>
                  <a:gd name="connsiteX93" fmla="*/ 1488076 w 1878075"/>
                  <a:gd name="connsiteY93" fmla="*/ 724035 h 1694229"/>
                  <a:gd name="connsiteX94" fmla="*/ 1580416 w 1878075"/>
                  <a:gd name="connsiteY94" fmla="*/ 740220 h 1694229"/>
                  <a:gd name="connsiteX95" fmla="*/ 1615719 w 1878075"/>
                  <a:gd name="connsiteY95" fmla="*/ 683758 h 1694229"/>
                  <a:gd name="connsiteX96" fmla="*/ 1603753 w 1878075"/>
                  <a:gd name="connsiteY96" fmla="*/ 553648 h 1694229"/>
                  <a:gd name="connsiteX97" fmla="*/ 1620956 w 1878075"/>
                  <a:gd name="connsiteY97" fmla="*/ 405322 h 1694229"/>
                  <a:gd name="connsiteX0" fmla="*/ 1620956 w 1866986"/>
                  <a:gd name="connsiteY0" fmla="*/ 405322 h 1694229"/>
                  <a:gd name="connsiteX1" fmla="*/ 1548806 w 1866986"/>
                  <a:gd name="connsiteY1" fmla="*/ 372673 h 1694229"/>
                  <a:gd name="connsiteX2" fmla="*/ 1458557 w 1866986"/>
                  <a:gd name="connsiteY2" fmla="*/ 348860 h 1694229"/>
                  <a:gd name="connsiteX3" fmla="*/ 1405237 w 1866986"/>
                  <a:gd name="connsiteY3" fmla="*/ 271776 h 1694229"/>
                  <a:gd name="connsiteX4" fmla="*/ 1382136 w 1866986"/>
                  <a:gd name="connsiteY4" fmla="*/ 169931 h 1694229"/>
                  <a:gd name="connsiteX5" fmla="*/ 1346239 w 1866986"/>
                  <a:gd name="connsiteY5" fmla="*/ 1869 h 1694229"/>
                  <a:gd name="connsiteX6" fmla="*/ 1278870 w 1866986"/>
                  <a:gd name="connsiteY6" fmla="*/ 43567 h 1694229"/>
                  <a:gd name="connsiteX7" fmla="*/ 1273302 w 1866986"/>
                  <a:gd name="connsiteY7" fmla="*/ 101090 h 1694229"/>
                  <a:gd name="connsiteX8" fmla="*/ 1257397 w 1866986"/>
                  <a:gd name="connsiteY8" fmla="*/ 152303 h 1694229"/>
                  <a:gd name="connsiteX9" fmla="*/ 1237872 w 1866986"/>
                  <a:gd name="connsiteY9" fmla="*/ 204316 h 1694229"/>
                  <a:gd name="connsiteX10" fmla="*/ 1236143 w 1866986"/>
                  <a:gd name="connsiteY10" fmla="*/ 273739 h 1694229"/>
                  <a:gd name="connsiteX11" fmla="*/ 1163162 w 1866986"/>
                  <a:gd name="connsiteY11" fmla="*/ 283903 h 1694229"/>
                  <a:gd name="connsiteX12" fmla="*/ 1098809 w 1866986"/>
                  <a:gd name="connsiteY12" fmla="*/ 285917 h 1694229"/>
                  <a:gd name="connsiteX13" fmla="*/ 1051208 w 1866986"/>
                  <a:gd name="connsiteY13" fmla="*/ 346183 h 1694229"/>
                  <a:gd name="connsiteX14" fmla="*/ 996593 w 1866986"/>
                  <a:gd name="connsiteY14" fmla="*/ 371690 h 1694229"/>
                  <a:gd name="connsiteX15" fmla="*/ 943969 w 1866986"/>
                  <a:gd name="connsiteY15" fmla="*/ 358385 h 1694229"/>
                  <a:gd name="connsiteX16" fmla="*/ 837229 w 1866986"/>
                  <a:gd name="connsiteY16" fmla="*/ 376257 h 1694229"/>
                  <a:gd name="connsiteX17" fmla="*/ 814246 w 1866986"/>
                  <a:gd name="connsiteY17" fmla="*/ 440035 h 1694229"/>
                  <a:gd name="connsiteX18" fmla="*/ 797163 w 1866986"/>
                  <a:gd name="connsiteY18" fmla="*/ 475926 h 1694229"/>
                  <a:gd name="connsiteX19" fmla="*/ 715132 w 1866986"/>
                  <a:gd name="connsiteY19" fmla="*/ 494632 h 1694229"/>
                  <a:gd name="connsiteX20" fmla="*/ 697320 w 1866986"/>
                  <a:gd name="connsiteY20" fmla="*/ 440647 h 1694229"/>
                  <a:gd name="connsiteX21" fmla="*/ 653456 w 1866986"/>
                  <a:gd name="connsiteY21" fmla="*/ 420298 h 1694229"/>
                  <a:gd name="connsiteX22" fmla="*/ 518140 w 1866986"/>
                  <a:gd name="connsiteY22" fmla="*/ 420641 h 1694229"/>
                  <a:gd name="connsiteX23" fmla="*/ 434263 w 1866986"/>
                  <a:gd name="connsiteY23" fmla="*/ 447350 h 1694229"/>
                  <a:gd name="connsiteX24" fmla="*/ 401044 w 1866986"/>
                  <a:gd name="connsiteY24" fmla="*/ 420298 h 1694229"/>
                  <a:gd name="connsiteX25" fmla="*/ 381994 w 1866986"/>
                  <a:gd name="connsiteY25" fmla="*/ 358385 h 1694229"/>
                  <a:gd name="connsiteX26" fmla="*/ 315319 w 1866986"/>
                  <a:gd name="connsiteY26" fmla="*/ 305998 h 1694229"/>
                  <a:gd name="connsiteX27" fmla="*/ 270134 w 1866986"/>
                  <a:gd name="connsiteY27" fmla="*/ 229110 h 1694229"/>
                  <a:gd name="connsiteX28" fmla="*/ 146784 w 1866986"/>
                  <a:gd name="connsiteY28" fmla="*/ 258373 h 1694229"/>
                  <a:gd name="connsiteX29" fmla="*/ 127734 w 1866986"/>
                  <a:gd name="connsiteY29" fmla="*/ 344785 h 1694229"/>
                  <a:gd name="connsiteX30" fmla="*/ 145174 w 1866986"/>
                  <a:gd name="connsiteY30" fmla="*/ 411312 h 1694229"/>
                  <a:gd name="connsiteX31" fmla="*/ 117735 w 1866986"/>
                  <a:gd name="connsiteY31" fmla="*/ 446172 h 1694229"/>
                  <a:gd name="connsiteX32" fmla="*/ 65347 w 1866986"/>
                  <a:gd name="connsiteY32" fmla="*/ 474059 h 1694229"/>
                  <a:gd name="connsiteX33" fmla="*/ 37246 w 1866986"/>
                  <a:gd name="connsiteY33" fmla="*/ 482063 h 1694229"/>
                  <a:gd name="connsiteX34" fmla="*/ 15281 w 1866986"/>
                  <a:gd name="connsiteY34" fmla="*/ 520310 h 1694229"/>
                  <a:gd name="connsiteX35" fmla="*/ 1469 w 1866986"/>
                  <a:gd name="connsiteY35" fmla="*/ 632745 h 1694229"/>
                  <a:gd name="connsiteX36" fmla="*/ 51178 w 1866986"/>
                  <a:gd name="connsiteY36" fmla="*/ 685967 h 1694229"/>
                  <a:gd name="connsiteX37" fmla="*/ 108092 w 1866986"/>
                  <a:gd name="connsiteY37" fmla="*/ 681547 h 1694229"/>
                  <a:gd name="connsiteX38" fmla="*/ 93804 w 1866986"/>
                  <a:gd name="connsiteY38" fmla="*/ 751806 h 1694229"/>
                  <a:gd name="connsiteX39" fmla="*/ 148631 w 1866986"/>
                  <a:gd name="connsiteY39" fmla="*/ 782248 h 1694229"/>
                  <a:gd name="connsiteX40" fmla="*/ 217629 w 1866986"/>
                  <a:gd name="connsiteY40" fmla="*/ 792460 h 1694229"/>
                  <a:gd name="connsiteX41" fmla="*/ 252932 w 1866986"/>
                  <a:gd name="connsiteY41" fmla="*/ 848431 h 1694229"/>
                  <a:gd name="connsiteX42" fmla="*/ 252339 w 1866986"/>
                  <a:gd name="connsiteY42" fmla="*/ 893503 h 1694229"/>
                  <a:gd name="connsiteX43" fmla="*/ 276863 w 1866986"/>
                  <a:gd name="connsiteY43" fmla="*/ 932978 h 1694229"/>
                  <a:gd name="connsiteX44" fmla="*/ 322521 w 1866986"/>
                  <a:gd name="connsiteY44" fmla="*/ 971570 h 1694229"/>
                  <a:gd name="connsiteX45" fmla="*/ 407654 w 1866986"/>
                  <a:gd name="connsiteY45" fmla="*/ 1025822 h 1694229"/>
                  <a:gd name="connsiteX46" fmla="*/ 443431 w 1866986"/>
                  <a:gd name="connsiteY46" fmla="*/ 1096915 h 1694229"/>
                  <a:gd name="connsiteX47" fmla="*/ 422534 w 1866986"/>
                  <a:gd name="connsiteY47" fmla="*/ 1166488 h 1694229"/>
                  <a:gd name="connsiteX48" fmla="*/ 500581 w 1866986"/>
                  <a:gd name="connsiteY48" fmla="*/ 1222951 h 1694229"/>
                  <a:gd name="connsiteX49" fmla="*/ 572613 w 1866986"/>
                  <a:gd name="connsiteY49" fmla="*/ 1255945 h 1694229"/>
                  <a:gd name="connsiteX50" fmla="*/ 553444 w 1866986"/>
                  <a:gd name="connsiteY50" fmla="*/ 1315648 h 1694229"/>
                  <a:gd name="connsiteX51" fmla="*/ 643931 w 1866986"/>
                  <a:gd name="connsiteY51" fmla="*/ 1468048 h 1694229"/>
                  <a:gd name="connsiteX52" fmla="*/ 736741 w 1866986"/>
                  <a:gd name="connsiteY52" fmla="*/ 1541202 h 1694229"/>
                  <a:gd name="connsiteX53" fmla="*/ 786806 w 1866986"/>
                  <a:gd name="connsiteY53" fmla="*/ 1491860 h 1694229"/>
                  <a:gd name="connsiteX54" fmla="*/ 851396 w 1866986"/>
                  <a:gd name="connsiteY54" fmla="*/ 1519257 h 1694229"/>
                  <a:gd name="connsiteX55" fmla="*/ 905869 w 1866986"/>
                  <a:gd name="connsiteY55" fmla="*/ 1487098 h 1694229"/>
                  <a:gd name="connsiteX56" fmla="*/ 922716 w 1866986"/>
                  <a:gd name="connsiteY56" fmla="*/ 1444922 h 1694229"/>
                  <a:gd name="connsiteX57" fmla="*/ 986593 w 1866986"/>
                  <a:gd name="connsiteY57" fmla="*/ 1531334 h 1694229"/>
                  <a:gd name="connsiteX58" fmla="*/ 1031660 w 1866986"/>
                  <a:gd name="connsiteY58" fmla="*/ 1602428 h 1694229"/>
                  <a:gd name="connsiteX59" fmla="*/ 1101606 w 1866986"/>
                  <a:gd name="connsiteY59" fmla="*/ 1693947 h 1694229"/>
                  <a:gd name="connsiteX60" fmla="*/ 1132504 w 1866986"/>
                  <a:gd name="connsiteY60" fmla="*/ 1630856 h 1694229"/>
                  <a:gd name="connsiteX61" fmla="*/ 1163163 w 1866986"/>
                  <a:gd name="connsiteY61" fmla="*/ 1624376 h 1694229"/>
                  <a:gd name="connsiteX62" fmla="*/ 1206262 w 1866986"/>
                  <a:gd name="connsiteY62" fmla="*/ 1653639 h 1694229"/>
                  <a:gd name="connsiteX63" fmla="*/ 1239837 w 1866986"/>
                  <a:gd name="connsiteY63" fmla="*/ 1612985 h 1694229"/>
                  <a:gd name="connsiteX64" fmla="*/ 1258658 w 1866986"/>
                  <a:gd name="connsiteY64" fmla="*/ 1617602 h 1694229"/>
                  <a:gd name="connsiteX65" fmla="*/ 1292700 w 1866986"/>
                  <a:gd name="connsiteY65" fmla="*/ 1684079 h 1694229"/>
                  <a:gd name="connsiteX66" fmla="*/ 1349256 w 1866986"/>
                  <a:gd name="connsiteY66" fmla="*/ 1660610 h 1694229"/>
                  <a:gd name="connsiteX67" fmla="*/ 1401288 w 1866986"/>
                  <a:gd name="connsiteY67" fmla="*/ 1604489 h 1694229"/>
                  <a:gd name="connsiteX68" fmla="*/ 1452065 w 1866986"/>
                  <a:gd name="connsiteY68" fmla="*/ 1587946 h 1694229"/>
                  <a:gd name="connsiteX69" fmla="*/ 1469744 w 1866986"/>
                  <a:gd name="connsiteY69" fmla="*/ 1643768 h 1694229"/>
                  <a:gd name="connsiteX70" fmla="*/ 1539639 w 1866986"/>
                  <a:gd name="connsiteY70" fmla="*/ 1618090 h 1694229"/>
                  <a:gd name="connsiteX71" fmla="*/ 1570417 w 1866986"/>
                  <a:gd name="connsiteY71" fmla="*/ 1531334 h 1694229"/>
                  <a:gd name="connsiteX72" fmla="*/ 1651853 w 1866986"/>
                  <a:gd name="connsiteY72" fmla="*/ 1441192 h 1694229"/>
                  <a:gd name="connsiteX73" fmla="*/ 1696444 w 1866986"/>
                  <a:gd name="connsiteY73" fmla="*/ 1410062 h 1694229"/>
                  <a:gd name="connsiteX74" fmla="*/ 1724813 w 1866986"/>
                  <a:gd name="connsiteY74" fmla="*/ 1413357 h 1694229"/>
                  <a:gd name="connsiteX75" fmla="*/ 1802405 w 1866986"/>
                  <a:gd name="connsiteY75" fmla="*/ 1402749 h 1694229"/>
                  <a:gd name="connsiteX76" fmla="*/ 1797524 w 1866986"/>
                  <a:gd name="connsiteY76" fmla="*/ 1456313 h 1694229"/>
                  <a:gd name="connsiteX77" fmla="*/ 1855691 w 1866986"/>
                  <a:gd name="connsiteY77" fmla="*/ 1479634 h 1694229"/>
                  <a:gd name="connsiteX78" fmla="*/ 1857299 w 1866986"/>
                  <a:gd name="connsiteY78" fmla="*/ 1457000 h 1694229"/>
                  <a:gd name="connsiteX79" fmla="*/ 1856521 w 1866986"/>
                  <a:gd name="connsiteY79" fmla="*/ 1396266 h 1694229"/>
                  <a:gd name="connsiteX80" fmla="*/ 1863843 w 1866986"/>
                  <a:gd name="connsiteY80" fmla="*/ 1323993 h 1694229"/>
                  <a:gd name="connsiteX81" fmla="*/ 1797946 w 1866986"/>
                  <a:gd name="connsiteY81" fmla="*/ 1305140 h 1694229"/>
                  <a:gd name="connsiteX82" fmla="*/ 1747763 w 1866986"/>
                  <a:gd name="connsiteY82" fmla="*/ 1264979 h 1694229"/>
                  <a:gd name="connsiteX83" fmla="*/ 1737459 w 1866986"/>
                  <a:gd name="connsiteY83" fmla="*/ 1176356 h 1694229"/>
                  <a:gd name="connsiteX84" fmla="*/ 1704241 w 1866986"/>
                  <a:gd name="connsiteY84" fmla="*/ 1038783 h 1694229"/>
                  <a:gd name="connsiteX85" fmla="*/ 1627446 w 1866986"/>
                  <a:gd name="connsiteY85" fmla="*/ 972257 h 1694229"/>
                  <a:gd name="connsiteX86" fmla="*/ 1594228 w 1866986"/>
                  <a:gd name="connsiteY86" fmla="*/ 917660 h 1694229"/>
                  <a:gd name="connsiteX87" fmla="*/ 1544162 w 1866986"/>
                  <a:gd name="connsiteY87" fmla="*/ 872587 h 1694229"/>
                  <a:gd name="connsiteX88" fmla="*/ 1472251 w 1866986"/>
                  <a:gd name="connsiteY88" fmla="*/ 845878 h 1694229"/>
                  <a:gd name="connsiteX89" fmla="*/ 1449150 w 1866986"/>
                  <a:gd name="connsiteY89" fmla="*/ 823245 h 1694229"/>
                  <a:gd name="connsiteX90" fmla="*/ 1477013 w 1866986"/>
                  <a:gd name="connsiteY90" fmla="*/ 784801 h 1694229"/>
                  <a:gd name="connsiteX91" fmla="*/ 1458319 w 1866986"/>
                  <a:gd name="connsiteY91" fmla="*/ 748910 h 1694229"/>
                  <a:gd name="connsiteX92" fmla="*/ 1463081 w 1866986"/>
                  <a:gd name="connsiteY92" fmla="*/ 725098 h 1694229"/>
                  <a:gd name="connsiteX93" fmla="*/ 1488076 w 1866986"/>
                  <a:gd name="connsiteY93" fmla="*/ 724035 h 1694229"/>
                  <a:gd name="connsiteX94" fmla="*/ 1580416 w 1866986"/>
                  <a:gd name="connsiteY94" fmla="*/ 740220 h 1694229"/>
                  <a:gd name="connsiteX95" fmla="*/ 1615719 w 1866986"/>
                  <a:gd name="connsiteY95" fmla="*/ 683758 h 1694229"/>
                  <a:gd name="connsiteX96" fmla="*/ 1603753 w 1866986"/>
                  <a:gd name="connsiteY96" fmla="*/ 553648 h 1694229"/>
                  <a:gd name="connsiteX97" fmla="*/ 1620956 w 1866986"/>
                  <a:gd name="connsiteY97" fmla="*/ 405322 h 1694229"/>
                  <a:gd name="connsiteX0" fmla="*/ 1620956 w 1880530"/>
                  <a:gd name="connsiteY0" fmla="*/ 405322 h 1694229"/>
                  <a:gd name="connsiteX1" fmla="*/ 1548806 w 1880530"/>
                  <a:gd name="connsiteY1" fmla="*/ 372673 h 1694229"/>
                  <a:gd name="connsiteX2" fmla="*/ 1458557 w 1880530"/>
                  <a:gd name="connsiteY2" fmla="*/ 348860 h 1694229"/>
                  <a:gd name="connsiteX3" fmla="*/ 1405237 w 1880530"/>
                  <a:gd name="connsiteY3" fmla="*/ 271776 h 1694229"/>
                  <a:gd name="connsiteX4" fmla="*/ 1382136 w 1880530"/>
                  <a:gd name="connsiteY4" fmla="*/ 169931 h 1694229"/>
                  <a:gd name="connsiteX5" fmla="*/ 1346239 w 1880530"/>
                  <a:gd name="connsiteY5" fmla="*/ 1869 h 1694229"/>
                  <a:gd name="connsiteX6" fmla="*/ 1278870 w 1880530"/>
                  <a:gd name="connsiteY6" fmla="*/ 43567 h 1694229"/>
                  <a:gd name="connsiteX7" fmla="*/ 1273302 w 1880530"/>
                  <a:gd name="connsiteY7" fmla="*/ 101090 h 1694229"/>
                  <a:gd name="connsiteX8" fmla="*/ 1257397 w 1880530"/>
                  <a:gd name="connsiteY8" fmla="*/ 152303 h 1694229"/>
                  <a:gd name="connsiteX9" fmla="*/ 1237872 w 1880530"/>
                  <a:gd name="connsiteY9" fmla="*/ 204316 h 1694229"/>
                  <a:gd name="connsiteX10" fmla="*/ 1236143 w 1880530"/>
                  <a:gd name="connsiteY10" fmla="*/ 273739 h 1694229"/>
                  <a:gd name="connsiteX11" fmla="*/ 1163162 w 1880530"/>
                  <a:gd name="connsiteY11" fmla="*/ 283903 h 1694229"/>
                  <a:gd name="connsiteX12" fmla="*/ 1098809 w 1880530"/>
                  <a:gd name="connsiteY12" fmla="*/ 285917 h 1694229"/>
                  <a:gd name="connsiteX13" fmla="*/ 1051208 w 1880530"/>
                  <a:gd name="connsiteY13" fmla="*/ 346183 h 1694229"/>
                  <a:gd name="connsiteX14" fmla="*/ 996593 w 1880530"/>
                  <a:gd name="connsiteY14" fmla="*/ 371690 h 1694229"/>
                  <a:gd name="connsiteX15" fmla="*/ 943969 w 1880530"/>
                  <a:gd name="connsiteY15" fmla="*/ 358385 h 1694229"/>
                  <a:gd name="connsiteX16" fmla="*/ 837229 w 1880530"/>
                  <a:gd name="connsiteY16" fmla="*/ 376257 h 1694229"/>
                  <a:gd name="connsiteX17" fmla="*/ 814246 w 1880530"/>
                  <a:gd name="connsiteY17" fmla="*/ 440035 h 1694229"/>
                  <a:gd name="connsiteX18" fmla="*/ 797163 w 1880530"/>
                  <a:gd name="connsiteY18" fmla="*/ 475926 h 1694229"/>
                  <a:gd name="connsiteX19" fmla="*/ 715132 w 1880530"/>
                  <a:gd name="connsiteY19" fmla="*/ 494632 h 1694229"/>
                  <a:gd name="connsiteX20" fmla="*/ 697320 w 1880530"/>
                  <a:gd name="connsiteY20" fmla="*/ 440647 h 1694229"/>
                  <a:gd name="connsiteX21" fmla="*/ 653456 w 1880530"/>
                  <a:gd name="connsiteY21" fmla="*/ 420298 h 1694229"/>
                  <a:gd name="connsiteX22" fmla="*/ 518140 w 1880530"/>
                  <a:gd name="connsiteY22" fmla="*/ 420641 h 1694229"/>
                  <a:gd name="connsiteX23" fmla="*/ 434263 w 1880530"/>
                  <a:gd name="connsiteY23" fmla="*/ 447350 h 1694229"/>
                  <a:gd name="connsiteX24" fmla="*/ 401044 w 1880530"/>
                  <a:gd name="connsiteY24" fmla="*/ 420298 h 1694229"/>
                  <a:gd name="connsiteX25" fmla="*/ 381994 w 1880530"/>
                  <a:gd name="connsiteY25" fmla="*/ 358385 h 1694229"/>
                  <a:gd name="connsiteX26" fmla="*/ 315319 w 1880530"/>
                  <a:gd name="connsiteY26" fmla="*/ 305998 h 1694229"/>
                  <a:gd name="connsiteX27" fmla="*/ 270134 w 1880530"/>
                  <a:gd name="connsiteY27" fmla="*/ 229110 h 1694229"/>
                  <a:gd name="connsiteX28" fmla="*/ 146784 w 1880530"/>
                  <a:gd name="connsiteY28" fmla="*/ 258373 h 1694229"/>
                  <a:gd name="connsiteX29" fmla="*/ 127734 w 1880530"/>
                  <a:gd name="connsiteY29" fmla="*/ 344785 h 1694229"/>
                  <a:gd name="connsiteX30" fmla="*/ 145174 w 1880530"/>
                  <a:gd name="connsiteY30" fmla="*/ 411312 h 1694229"/>
                  <a:gd name="connsiteX31" fmla="*/ 117735 w 1880530"/>
                  <a:gd name="connsiteY31" fmla="*/ 446172 h 1694229"/>
                  <a:gd name="connsiteX32" fmla="*/ 65347 w 1880530"/>
                  <a:gd name="connsiteY32" fmla="*/ 474059 h 1694229"/>
                  <a:gd name="connsiteX33" fmla="*/ 37246 w 1880530"/>
                  <a:gd name="connsiteY33" fmla="*/ 482063 h 1694229"/>
                  <a:gd name="connsiteX34" fmla="*/ 15281 w 1880530"/>
                  <a:gd name="connsiteY34" fmla="*/ 520310 h 1694229"/>
                  <a:gd name="connsiteX35" fmla="*/ 1469 w 1880530"/>
                  <a:gd name="connsiteY35" fmla="*/ 632745 h 1694229"/>
                  <a:gd name="connsiteX36" fmla="*/ 51178 w 1880530"/>
                  <a:gd name="connsiteY36" fmla="*/ 685967 h 1694229"/>
                  <a:gd name="connsiteX37" fmla="*/ 108092 w 1880530"/>
                  <a:gd name="connsiteY37" fmla="*/ 681547 h 1694229"/>
                  <a:gd name="connsiteX38" fmla="*/ 93804 w 1880530"/>
                  <a:gd name="connsiteY38" fmla="*/ 751806 h 1694229"/>
                  <a:gd name="connsiteX39" fmla="*/ 148631 w 1880530"/>
                  <a:gd name="connsiteY39" fmla="*/ 782248 h 1694229"/>
                  <a:gd name="connsiteX40" fmla="*/ 217629 w 1880530"/>
                  <a:gd name="connsiteY40" fmla="*/ 792460 h 1694229"/>
                  <a:gd name="connsiteX41" fmla="*/ 252932 w 1880530"/>
                  <a:gd name="connsiteY41" fmla="*/ 848431 h 1694229"/>
                  <a:gd name="connsiteX42" fmla="*/ 252339 w 1880530"/>
                  <a:gd name="connsiteY42" fmla="*/ 893503 h 1694229"/>
                  <a:gd name="connsiteX43" fmla="*/ 276863 w 1880530"/>
                  <a:gd name="connsiteY43" fmla="*/ 932978 h 1694229"/>
                  <a:gd name="connsiteX44" fmla="*/ 322521 w 1880530"/>
                  <a:gd name="connsiteY44" fmla="*/ 971570 h 1694229"/>
                  <a:gd name="connsiteX45" fmla="*/ 407654 w 1880530"/>
                  <a:gd name="connsiteY45" fmla="*/ 1025822 h 1694229"/>
                  <a:gd name="connsiteX46" fmla="*/ 443431 w 1880530"/>
                  <a:gd name="connsiteY46" fmla="*/ 1096915 h 1694229"/>
                  <a:gd name="connsiteX47" fmla="*/ 422534 w 1880530"/>
                  <a:gd name="connsiteY47" fmla="*/ 1166488 h 1694229"/>
                  <a:gd name="connsiteX48" fmla="*/ 500581 w 1880530"/>
                  <a:gd name="connsiteY48" fmla="*/ 1222951 h 1694229"/>
                  <a:gd name="connsiteX49" fmla="*/ 572613 w 1880530"/>
                  <a:gd name="connsiteY49" fmla="*/ 1255945 h 1694229"/>
                  <a:gd name="connsiteX50" fmla="*/ 553444 w 1880530"/>
                  <a:gd name="connsiteY50" fmla="*/ 1315648 h 1694229"/>
                  <a:gd name="connsiteX51" fmla="*/ 643931 w 1880530"/>
                  <a:gd name="connsiteY51" fmla="*/ 1468048 h 1694229"/>
                  <a:gd name="connsiteX52" fmla="*/ 736741 w 1880530"/>
                  <a:gd name="connsiteY52" fmla="*/ 1541202 h 1694229"/>
                  <a:gd name="connsiteX53" fmla="*/ 786806 w 1880530"/>
                  <a:gd name="connsiteY53" fmla="*/ 1491860 h 1694229"/>
                  <a:gd name="connsiteX54" fmla="*/ 851396 w 1880530"/>
                  <a:gd name="connsiteY54" fmla="*/ 1519257 h 1694229"/>
                  <a:gd name="connsiteX55" fmla="*/ 905869 w 1880530"/>
                  <a:gd name="connsiteY55" fmla="*/ 1487098 h 1694229"/>
                  <a:gd name="connsiteX56" fmla="*/ 922716 w 1880530"/>
                  <a:gd name="connsiteY56" fmla="*/ 1444922 h 1694229"/>
                  <a:gd name="connsiteX57" fmla="*/ 986593 w 1880530"/>
                  <a:gd name="connsiteY57" fmla="*/ 1531334 h 1694229"/>
                  <a:gd name="connsiteX58" fmla="*/ 1031660 w 1880530"/>
                  <a:gd name="connsiteY58" fmla="*/ 1602428 h 1694229"/>
                  <a:gd name="connsiteX59" fmla="*/ 1101606 w 1880530"/>
                  <a:gd name="connsiteY59" fmla="*/ 1693947 h 1694229"/>
                  <a:gd name="connsiteX60" fmla="*/ 1132504 w 1880530"/>
                  <a:gd name="connsiteY60" fmla="*/ 1630856 h 1694229"/>
                  <a:gd name="connsiteX61" fmla="*/ 1163163 w 1880530"/>
                  <a:gd name="connsiteY61" fmla="*/ 1624376 h 1694229"/>
                  <a:gd name="connsiteX62" fmla="*/ 1206262 w 1880530"/>
                  <a:gd name="connsiteY62" fmla="*/ 1653639 h 1694229"/>
                  <a:gd name="connsiteX63" fmla="*/ 1239837 w 1880530"/>
                  <a:gd name="connsiteY63" fmla="*/ 1612985 h 1694229"/>
                  <a:gd name="connsiteX64" fmla="*/ 1258658 w 1880530"/>
                  <a:gd name="connsiteY64" fmla="*/ 1617602 h 1694229"/>
                  <a:gd name="connsiteX65" fmla="*/ 1292700 w 1880530"/>
                  <a:gd name="connsiteY65" fmla="*/ 1684079 h 1694229"/>
                  <a:gd name="connsiteX66" fmla="*/ 1349256 w 1880530"/>
                  <a:gd name="connsiteY66" fmla="*/ 1660610 h 1694229"/>
                  <a:gd name="connsiteX67" fmla="*/ 1401288 w 1880530"/>
                  <a:gd name="connsiteY67" fmla="*/ 1604489 h 1694229"/>
                  <a:gd name="connsiteX68" fmla="*/ 1452065 w 1880530"/>
                  <a:gd name="connsiteY68" fmla="*/ 1587946 h 1694229"/>
                  <a:gd name="connsiteX69" fmla="*/ 1469744 w 1880530"/>
                  <a:gd name="connsiteY69" fmla="*/ 1643768 h 1694229"/>
                  <a:gd name="connsiteX70" fmla="*/ 1539639 w 1880530"/>
                  <a:gd name="connsiteY70" fmla="*/ 1618090 h 1694229"/>
                  <a:gd name="connsiteX71" fmla="*/ 1570417 w 1880530"/>
                  <a:gd name="connsiteY71" fmla="*/ 1531334 h 1694229"/>
                  <a:gd name="connsiteX72" fmla="*/ 1651853 w 1880530"/>
                  <a:gd name="connsiteY72" fmla="*/ 1441192 h 1694229"/>
                  <a:gd name="connsiteX73" fmla="*/ 1696444 w 1880530"/>
                  <a:gd name="connsiteY73" fmla="*/ 1410062 h 1694229"/>
                  <a:gd name="connsiteX74" fmla="*/ 1724813 w 1880530"/>
                  <a:gd name="connsiteY74" fmla="*/ 1413357 h 1694229"/>
                  <a:gd name="connsiteX75" fmla="*/ 1802405 w 1880530"/>
                  <a:gd name="connsiteY75" fmla="*/ 1402749 h 1694229"/>
                  <a:gd name="connsiteX76" fmla="*/ 1797524 w 1880530"/>
                  <a:gd name="connsiteY76" fmla="*/ 1456313 h 1694229"/>
                  <a:gd name="connsiteX77" fmla="*/ 1855691 w 1880530"/>
                  <a:gd name="connsiteY77" fmla="*/ 1479634 h 1694229"/>
                  <a:gd name="connsiteX78" fmla="*/ 1857299 w 1880530"/>
                  <a:gd name="connsiteY78" fmla="*/ 1457000 h 1694229"/>
                  <a:gd name="connsiteX79" fmla="*/ 1856521 w 1880530"/>
                  <a:gd name="connsiteY79" fmla="*/ 1396266 h 1694229"/>
                  <a:gd name="connsiteX80" fmla="*/ 1878487 w 1880530"/>
                  <a:gd name="connsiteY80" fmla="*/ 1326546 h 1694229"/>
                  <a:gd name="connsiteX81" fmla="*/ 1797946 w 1880530"/>
                  <a:gd name="connsiteY81" fmla="*/ 1305140 h 1694229"/>
                  <a:gd name="connsiteX82" fmla="*/ 1747763 w 1880530"/>
                  <a:gd name="connsiteY82" fmla="*/ 1264979 h 1694229"/>
                  <a:gd name="connsiteX83" fmla="*/ 1737459 w 1880530"/>
                  <a:gd name="connsiteY83" fmla="*/ 1176356 h 1694229"/>
                  <a:gd name="connsiteX84" fmla="*/ 1704241 w 1880530"/>
                  <a:gd name="connsiteY84" fmla="*/ 1038783 h 1694229"/>
                  <a:gd name="connsiteX85" fmla="*/ 1627446 w 1880530"/>
                  <a:gd name="connsiteY85" fmla="*/ 972257 h 1694229"/>
                  <a:gd name="connsiteX86" fmla="*/ 1594228 w 1880530"/>
                  <a:gd name="connsiteY86" fmla="*/ 917660 h 1694229"/>
                  <a:gd name="connsiteX87" fmla="*/ 1544162 w 1880530"/>
                  <a:gd name="connsiteY87" fmla="*/ 872587 h 1694229"/>
                  <a:gd name="connsiteX88" fmla="*/ 1472251 w 1880530"/>
                  <a:gd name="connsiteY88" fmla="*/ 845878 h 1694229"/>
                  <a:gd name="connsiteX89" fmla="*/ 1449150 w 1880530"/>
                  <a:gd name="connsiteY89" fmla="*/ 823245 h 1694229"/>
                  <a:gd name="connsiteX90" fmla="*/ 1477013 w 1880530"/>
                  <a:gd name="connsiteY90" fmla="*/ 784801 h 1694229"/>
                  <a:gd name="connsiteX91" fmla="*/ 1458319 w 1880530"/>
                  <a:gd name="connsiteY91" fmla="*/ 748910 h 1694229"/>
                  <a:gd name="connsiteX92" fmla="*/ 1463081 w 1880530"/>
                  <a:gd name="connsiteY92" fmla="*/ 725098 h 1694229"/>
                  <a:gd name="connsiteX93" fmla="*/ 1488076 w 1880530"/>
                  <a:gd name="connsiteY93" fmla="*/ 724035 h 1694229"/>
                  <a:gd name="connsiteX94" fmla="*/ 1580416 w 1880530"/>
                  <a:gd name="connsiteY94" fmla="*/ 740220 h 1694229"/>
                  <a:gd name="connsiteX95" fmla="*/ 1615719 w 1880530"/>
                  <a:gd name="connsiteY95" fmla="*/ 683758 h 1694229"/>
                  <a:gd name="connsiteX96" fmla="*/ 1603753 w 1880530"/>
                  <a:gd name="connsiteY96" fmla="*/ 553648 h 1694229"/>
                  <a:gd name="connsiteX97" fmla="*/ 1620956 w 1880530"/>
                  <a:gd name="connsiteY97" fmla="*/ 405322 h 1694229"/>
                  <a:gd name="connsiteX0" fmla="*/ 1620956 w 1881147"/>
                  <a:gd name="connsiteY0" fmla="*/ 405322 h 1694229"/>
                  <a:gd name="connsiteX1" fmla="*/ 1548806 w 1881147"/>
                  <a:gd name="connsiteY1" fmla="*/ 372673 h 1694229"/>
                  <a:gd name="connsiteX2" fmla="*/ 1458557 w 1881147"/>
                  <a:gd name="connsiteY2" fmla="*/ 348860 h 1694229"/>
                  <a:gd name="connsiteX3" fmla="*/ 1405237 w 1881147"/>
                  <a:gd name="connsiteY3" fmla="*/ 271776 h 1694229"/>
                  <a:gd name="connsiteX4" fmla="*/ 1382136 w 1881147"/>
                  <a:gd name="connsiteY4" fmla="*/ 169931 h 1694229"/>
                  <a:gd name="connsiteX5" fmla="*/ 1346239 w 1881147"/>
                  <a:gd name="connsiteY5" fmla="*/ 1869 h 1694229"/>
                  <a:gd name="connsiteX6" fmla="*/ 1278870 w 1881147"/>
                  <a:gd name="connsiteY6" fmla="*/ 43567 h 1694229"/>
                  <a:gd name="connsiteX7" fmla="*/ 1273302 w 1881147"/>
                  <a:gd name="connsiteY7" fmla="*/ 101090 h 1694229"/>
                  <a:gd name="connsiteX8" fmla="*/ 1257397 w 1881147"/>
                  <a:gd name="connsiteY8" fmla="*/ 152303 h 1694229"/>
                  <a:gd name="connsiteX9" fmla="*/ 1237872 w 1881147"/>
                  <a:gd name="connsiteY9" fmla="*/ 204316 h 1694229"/>
                  <a:gd name="connsiteX10" fmla="*/ 1236143 w 1881147"/>
                  <a:gd name="connsiteY10" fmla="*/ 273739 h 1694229"/>
                  <a:gd name="connsiteX11" fmla="*/ 1163162 w 1881147"/>
                  <a:gd name="connsiteY11" fmla="*/ 283903 h 1694229"/>
                  <a:gd name="connsiteX12" fmla="*/ 1098809 w 1881147"/>
                  <a:gd name="connsiteY12" fmla="*/ 285917 h 1694229"/>
                  <a:gd name="connsiteX13" fmla="*/ 1051208 w 1881147"/>
                  <a:gd name="connsiteY13" fmla="*/ 346183 h 1694229"/>
                  <a:gd name="connsiteX14" fmla="*/ 996593 w 1881147"/>
                  <a:gd name="connsiteY14" fmla="*/ 371690 h 1694229"/>
                  <a:gd name="connsiteX15" fmla="*/ 943969 w 1881147"/>
                  <a:gd name="connsiteY15" fmla="*/ 358385 h 1694229"/>
                  <a:gd name="connsiteX16" fmla="*/ 837229 w 1881147"/>
                  <a:gd name="connsiteY16" fmla="*/ 376257 h 1694229"/>
                  <a:gd name="connsiteX17" fmla="*/ 814246 w 1881147"/>
                  <a:gd name="connsiteY17" fmla="*/ 440035 h 1694229"/>
                  <a:gd name="connsiteX18" fmla="*/ 797163 w 1881147"/>
                  <a:gd name="connsiteY18" fmla="*/ 475926 h 1694229"/>
                  <a:gd name="connsiteX19" fmla="*/ 715132 w 1881147"/>
                  <a:gd name="connsiteY19" fmla="*/ 494632 h 1694229"/>
                  <a:gd name="connsiteX20" fmla="*/ 697320 w 1881147"/>
                  <a:gd name="connsiteY20" fmla="*/ 440647 h 1694229"/>
                  <a:gd name="connsiteX21" fmla="*/ 653456 w 1881147"/>
                  <a:gd name="connsiteY21" fmla="*/ 420298 h 1694229"/>
                  <a:gd name="connsiteX22" fmla="*/ 518140 w 1881147"/>
                  <a:gd name="connsiteY22" fmla="*/ 420641 h 1694229"/>
                  <a:gd name="connsiteX23" fmla="*/ 434263 w 1881147"/>
                  <a:gd name="connsiteY23" fmla="*/ 447350 h 1694229"/>
                  <a:gd name="connsiteX24" fmla="*/ 401044 w 1881147"/>
                  <a:gd name="connsiteY24" fmla="*/ 420298 h 1694229"/>
                  <a:gd name="connsiteX25" fmla="*/ 381994 w 1881147"/>
                  <a:gd name="connsiteY25" fmla="*/ 358385 h 1694229"/>
                  <a:gd name="connsiteX26" fmla="*/ 315319 w 1881147"/>
                  <a:gd name="connsiteY26" fmla="*/ 305998 h 1694229"/>
                  <a:gd name="connsiteX27" fmla="*/ 270134 w 1881147"/>
                  <a:gd name="connsiteY27" fmla="*/ 229110 h 1694229"/>
                  <a:gd name="connsiteX28" fmla="*/ 146784 w 1881147"/>
                  <a:gd name="connsiteY28" fmla="*/ 258373 h 1694229"/>
                  <a:gd name="connsiteX29" fmla="*/ 127734 w 1881147"/>
                  <a:gd name="connsiteY29" fmla="*/ 344785 h 1694229"/>
                  <a:gd name="connsiteX30" fmla="*/ 145174 w 1881147"/>
                  <a:gd name="connsiteY30" fmla="*/ 411312 h 1694229"/>
                  <a:gd name="connsiteX31" fmla="*/ 117735 w 1881147"/>
                  <a:gd name="connsiteY31" fmla="*/ 446172 h 1694229"/>
                  <a:gd name="connsiteX32" fmla="*/ 65347 w 1881147"/>
                  <a:gd name="connsiteY32" fmla="*/ 474059 h 1694229"/>
                  <a:gd name="connsiteX33" fmla="*/ 37246 w 1881147"/>
                  <a:gd name="connsiteY33" fmla="*/ 482063 h 1694229"/>
                  <a:gd name="connsiteX34" fmla="*/ 15281 w 1881147"/>
                  <a:gd name="connsiteY34" fmla="*/ 520310 h 1694229"/>
                  <a:gd name="connsiteX35" fmla="*/ 1469 w 1881147"/>
                  <a:gd name="connsiteY35" fmla="*/ 632745 h 1694229"/>
                  <a:gd name="connsiteX36" fmla="*/ 51178 w 1881147"/>
                  <a:gd name="connsiteY36" fmla="*/ 685967 h 1694229"/>
                  <a:gd name="connsiteX37" fmla="*/ 108092 w 1881147"/>
                  <a:gd name="connsiteY37" fmla="*/ 681547 h 1694229"/>
                  <a:gd name="connsiteX38" fmla="*/ 93804 w 1881147"/>
                  <a:gd name="connsiteY38" fmla="*/ 751806 h 1694229"/>
                  <a:gd name="connsiteX39" fmla="*/ 148631 w 1881147"/>
                  <a:gd name="connsiteY39" fmla="*/ 782248 h 1694229"/>
                  <a:gd name="connsiteX40" fmla="*/ 217629 w 1881147"/>
                  <a:gd name="connsiteY40" fmla="*/ 792460 h 1694229"/>
                  <a:gd name="connsiteX41" fmla="*/ 252932 w 1881147"/>
                  <a:gd name="connsiteY41" fmla="*/ 848431 h 1694229"/>
                  <a:gd name="connsiteX42" fmla="*/ 252339 w 1881147"/>
                  <a:gd name="connsiteY42" fmla="*/ 893503 h 1694229"/>
                  <a:gd name="connsiteX43" fmla="*/ 276863 w 1881147"/>
                  <a:gd name="connsiteY43" fmla="*/ 932978 h 1694229"/>
                  <a:gd name="connsiteX44" fmla="*/ 322521 w 1881147"/>
                  <a:gd name="connsiteY44" fmla="*/ 971570 h 1694229"/>
                  <a:gd name="connsiteX45" fmla="*/ 407654 w 1881147"/>
                  <a:gd name="connsiteY45" fmla="*/ 1025822 h 1694229"/>
                  <a:gd name="connsiteX46" fmla="*/ 443431 w 1881147"/>
                  <a:gd name="connsiteY46" fmla="*/ 1096915 h 1694229"/>
                  <a:gd name="connsiteX47" fmla="*/ 422534 w 1881147"/>
                  <a:gd name="connsiteY47" fmla="*/ 1166488 h 1694229"/>
                  <a:gd name="connsiteX48" fmla="*/ 500581 w 1881147"/>
                  <a:gd name="connsiteY48" fmla="*/ 1222951 h 1694229"/>
                  <a:gd name="connsiteX49" fmla="*/ 572613 w 1881147"/>
                  <a:gd name="connsiteY49" fmla="*/ 1255945 h 1694229"/>
                  <a:gd name="connsiteX50" fmla="*/ 553444 w 1881147"/>
                  <a:gd name="connsiteY50" fmla="*/ 1315648 h 1694229"/>
                  <a:gd name="connsiteX51" fmla="*/ 643931 w 1881147"/>
                  <a:gd name="connsiteY51" fmla="*/ 1468048 h 1694229"/>
                  <a:gd name="connsiteX52" fmla="*/ 736741 w 1881147"/>
                  <a:gd name="connsiteY52" fmla="*/ 1541202 h 1694229"/>
                  <a:gd name="connsiteX53" fmla="*/ 786806 w 1881147"/>
                  <a:gd name="connsiteY53" fmla="*/ 1491860 h 1694229"/>
                  <a:gd name="connsiteX54" fmla="*/ 851396 w 1881147"/>
                  <a:gd name="connsiteY54" fmla="*/ 1519257 h 1694229"/>
                  <a:gd name="connsiteX55" fmla="*/ 905869 w 1881147"/>
                  <a:gd name="connsiteY55" fmla="*/ 1487098 h 1694229"/>
                  <a:gd name="connsiteX56" fmla="*/ 922716 w 1881147"/>
                  <a:gd name="connsiteY56" fmla="*/ 1444922 h 1694229"/>
                  <a:gd name="connsiteX57" fmla="*/ 986593 w 1881147"/>
                  <a:gd name="connsiteY57" fmla="*/ 1531334 h 1694229"/>
                  <a:gd name="connsiteX58" fmla="*/ 1031660 w 1881147"/>
                  <a:gd name="connsiteY58" fmla="*/ 1602428 h 1694229"/>
                  <a:gd name="connsiteX59" fmla="*/ 1101606 w 1881147"/>
                  <a:gd name="connsiteY59" fmla="*/ 1693947 h 1694229"/>
                  <a:gd name="connsiteX60" fmla="*/ 1132504 w 1881147"/>
                  <a:gd name="connsiteY60" fmla="*/ 1630856 h 1694229"/>
                  <a:gd name="connsiteX61" fmla="*/ 1163163 w 1881147"/>
                  <a:gd name="connsiteY61" fmla="*/ 1624376 h 1694229"/>
                  <a:gd name="connsiteX62" fmla="*/ 1206262 w 1881147"/>
                  <a:gd name="connsiteY62" fmla="*/ 1653639 h 1694229"/>
                  <a:gd name="connsiteX63" fmla="*/ 1239837 w 1881147"/>
                  <a:gd name="connsiteY63" fmla="*/ 1612985 h 1694229"/>
                  <a:gd name="connsiteX64" fmla="*/ 1258658 w 1881147"/>
                  <a:gd name="connsiteY64" fmla="*/ 1617602 h 1694229"/>
                  <a:gd name="connsiteX65" fmla="*/ 1292700 w 1881147"/>
                  <a:gd name="connsiteY65" fmla="*/ 1684079 h 1694229"/>
                  <a:gd name="connsiteX66" fmla="*/ 1349256 w 1881147"/>
                  <a:gd name="connsiteY66" fmla="*/ 1660610 h 1694229"/>
                  <a:gd name="connsiteX67" fmla="*/ 1401288 w 1881147"/>
                  <a:gd name="connsiteY67" fmla="*/ 1604489 h 1694229"/>
                  <a:gd name="connsiteX68" fmla="*/ 1452065 w 1881147"/>
                  <a:gd name="connsiteY68" fmla="*/ 1587946 h 1694229"/>
                  <a:gd name="connsiteX69" fmla="*/ 1469744 w 1881147"/>
                  <a:gd name="connsiteY69" fmla="*/ 1643768 h 1694229"/>
                  <a:gd name="connsiteX70" fmla="*/ 1539639 w 1881147"/>
                  <a:gd name="connsiteY70" fmla="*/ 1618090 h 1694229"/>
                  <a:gd name="connsiteX71" fmla="*/ 1570417 w 1881147"/>
                  <a:gd name="connsiteY71" fmla="*/ 1531334 h 1694229"/>
                  <a:gd name="connsiteX72" fmla="*/ 1651853 w 1881147"/>
                  <a:gd name="connsiteY72" fmla="*/ 1441192 h 1694229"/>
                  <a:gd name="connsiteX73" fmla="*/ 1696444 w 1881147"/>
                  <a:gd name="connsiteY73" fmla="*/ 1410062 h 1694229"/>
                  <a:gd name="connsiteX74" fmla="*/ 1724813 w 1881147"/>
                  <a:gd name="connsiteY74" fmla="*/ 1413357 h 1694229"/>
                  <a:gd name="connsiteX75" fmla="*/ 1802405 w 1881147"/>
                  <a:gd name="connsiteY75" fmla="*/ 1402749 h 1694229"/>
                  <a:gd name="connsiteX76" fmla="*/ 1797524 w 1881147"/>
                  <a:gd name="connsiteY76" fmla="*/ 1456313 h 1694229"/>
                  <a:gd name="connsiteX77" fmla="*/ 1855691 w 1881147"/>
                  <a:gd name="connsiteY77" fmla="*/ 1479634 h 1694229"/>
                  <a:gd name="connsiteX78" fmla="*/ 1857299 w 1881147"/>
                  <a:gd name="connsiteY78" fmla="*/ 1457000 h 1694229"/>
                  <a:gd name="connsiteX79" fmla="*/ 1861403 w 1881147"/>
                  <a:gd name="connsiteY79" fmla="*/ 1401373 h 1694229"/>
                  <a:gd name="connsiteX80" fmla="*/ 1878487 w 1881147"/>
                  <a:gd name="connsiteY80" fmla="*/ 1326546 h 1694229"/>
                  <a:gd name="connsiteX81" fmla="*/ 1797946 w 1881147"/>
                  <a:gd name="connsiteY81" fmla="*/ 1305140 h 1694229"/>
                  <a:gd name="connsiteX82" fmla="*/ 1747763 w 1881147"/>
                  <a:gd name="connsiteY82" fmla="*/ 1264979 h 1694229"/>
                  <a:gd name="connsiteX83" fmla="*/ 1737459 w 1881147"/>
                  <a:gd name="connsiteY83" fmla="*/ 1176356 h 1694229"/>
                  <a:gd name="connsiteX84" fmla="*/ 1704241 w 1881147"/>
                  <a:gd name="connsiteY84" fmla="*/ 1038783 h 1694229"/>
                  <a:gd name="connsiteX85" fmla="*/ 1627446 w 1881147"/>
                  <a:gd name="connsiteY85" fmla="*/ 972257 h 1694229"/>
                  <a:gd name="connsiteX86" fmla="*/ 1594228 w 1881147"/>
                  <a:gd name="connsiteY86" fmla="*/ 917660 h 1694229"/>
                  <a:gd name="connsiteX87" fmla="*/ 1544162 w 1881147"/>
                  <a:gd name="connsiteY87" fmla="*/ 872587 h 1694229"/>
                  <a:gd name="connsiteX88" fmla="*/ 1472251 w 1881147"/>
                  <a:gd name="connsiteY88" fmla="*/ 845878 h 1694229"/>
                  <a:gd name="connsiteX89" fmla="*/ 1449150 w 1881147"/>
                  <a:gd name="connsiteY89" fmla="*/ 823245 h 1694229"/>
                  <a:gd name="connsiteX90" fmla="*/ 1477013 w 1881147"/>
                  <a:gd name="connsiteY90" fmla="*/ 784801 h 1694229"/>
                  <a:gd name="connsiteX91" fmla="*/ 1458319 w 1881147"/>
                  <a:gd name="connsiteY91" fmla="*/ 748910 h 1694229"/>
                  <a:gd name="connsiteX92" fmla="*/ 1463081 w 1881147"/>
                  <a:gd name="connsiteY92" fmla="*/ 725098 h 1694229"/>
                  <a:gd name="connsiteX93" fmla="*/ 1488076 w 1881147"/>
                  <a:gd name="connsiteY93" fmla="*/ 724035 h 1694229"/>
                  <a:gd name="connsiteX94" fmla="*/ 1580416 w 1881147"/>
                  <a:gd name="connsiteY94" fmla="*/ 740220 h 1694229"/>
                  <a:gd name="connsiteX95" fmla="*/ 1615719 w 1881147"/>
                  <a:gd name="connsiteY95" fmla="*/ 683758 h 1694229"/>
                  <a:gd name="connsiteX96" fmla="*/ 1603753 w 1881147"/>
                  <a:gd name="connsiteY96" fmla="*/ 553648 h 1694229"/>
                  <a:gd name="connsiteX97" fmla="*/ 1620956 w 1881147"/>
                  <a:gd name="connsiteY97" fmla="*/ 405322 h 1694229"/>
                  <a:gd name="connsiteX0" fmla="*/ 1620956 w 1868187"/>
                  <a:gd name="connsiteY0" fmla="*/ 405322 h 1694229"/>
                  <a:gd name="connsiteX1" fmla="*/ 1548806 w 1868187"/>
                  <a:gd name="connsiteY1" fmla="*/ 372673 h 1694229"/>
                  <a:gd name="connsiteX2" fmla="*/ 1458557 w 1868187"/>
                  <a:gd name="connsiteY2" fmla="*/ 348860 h 1694229"/>
                  <a:gd name="connsiteX3" fmla="*/ 1405237 w 1868187"/>
                  <a:gd name="connsiteY3" fmla="*/ 271776 h 1694229"/>
                  <a:gd name="connsiteX4" fmla="*/ 1382136 w 1868187"/>
                  <a:gd name="connsiteY4" fmla="*/ 169931 h 1694229"/>
                  <a:gd name="connsiteX5" fmla="*/ 1346239 w 1868187"/>
                  <a:gd name="connsiteY5" fmla="*/ 1869 h 1694229"/>
                  <a:gd name="connsiteX6" fmla="*/ 1278870 w 1868187"/>
                  <a:gd name="connsiteY6" fmla="*/ 43567 h 1694229"/>
                  <a:gd name="connsiteX7" fmla="*/ 1273302 w 1868187"/>
                  <a:gd name="connsiteY7" fmla="*/ 101090 h 1694229"/>
                  <a:gd name="connsiteX8" fmla="*/ 1257397 w 1868187"/>
                  <a:gd name="connsiteY8" fmla="*/ 152303 h 1694229"/>
                  <a:gd name="connsiteX9" fmla="*/ 1237872 w 1868187"/>
                  <a:gd name="connsiteY9" fmla="*/ 204316 h 1694229"/>
                  <a:gd name="connsiteX10" fmla="*/ 1236143 w 1868187"/>
                  <a:gd name="connsiteY10" fmla="*/ 273739 h 1694229"/>
                  <a:gd name="connsiteX11" fmla="*/ 1163162 w 1868187"/>
                  <a:gd name="connsiteY11" fmla="*/ 283903 h 1694229"/>
                  <a:gd name="connsiteX12" fmla="*/ 1098809 w 1868187"/>
                  <a:gd name="connsiteY12" fmla="*/ 285917 h 1694229"/>
                  <a:gd name="connsiteX13" fmla="*/ 1051208 w 1868187"/>
                  <a:gd name="connsiteY13" fmla="*/ 346183 h 1694229"/>
                  <a:gd name="connsiteX14" fmla="*/ 996593 w 1868187"/>
                  <a:gd name="connsiteY14" fmla="*/ 371690 h 1694229"/>
                  <a:gd name="connsiteX15" fmla="*/ 943969 w 1868187"/>
                  <a:gd name="connsiteY15" fmla="*/ 358385 h 1694229"/>
                  <a:gd name="connsiteX16" fmla="*/ 837229 w 1868187"/>
                  <a:gd name="connsiteY16" fmla="*/ 376257 h 1694229"/>
                  <a:gd name="connsiteX17" fmla="*/ 814246 w 1868187"/>
                  <a:gd name="connsiteY17" fmla="*/ 440035 h 1694229"/>
                  <a:gd name="connsiteX18" fmla="*/ 797163 w 1868187"/>
                  <a:gd name="connsiteY18" fmla="*/ 475926 h 1694229"/>
                  <a:gd name="connsiteX19" fmla="*/ 715132 w 1868187"/>
                  <a:gd name="connsiteY19" fmla="*/ 494632 h 1694229"/>
                  <a:gd name="connsiteX20" fmla="*/ 697320 w 1868187"/>
                  <a:gd name="connsiteY20" fmla="*/ 440647 h 1694229"/>
                  <a:gd name="connsiteX21" fmla="*/ 653456 w 1868187"/>
                  <a:gd name="connsiteY21" fmla="*/ 420298 h 1694229"/>
                  <a:gd name="connsiteX22" fmla="*/ 518140 w 1868187"/>
                  <a:gd name="connsiteY22" fmla="*/ 420641 h 1694229"/>
                  <a:gd name="connsiteX23" fmla="*/ 434263 w 1868187"/>
                  <a:gd name="connsiteY23" fmla="*/ 447350 h 1694229"/>
                  <a:gd name="connsiteX24" fmla="*/ 401044 w 1868187"/>
                  <a:gd name="connsiteY24" fmla="*/ 420298 h 1694229"/>
                  <a:gd name="connsiteX25" fmla="*/ 381994 w 1868187"/>
                  <a:gd name="connsiteY25" fmla="*/ 358385 h 1694229"/>
                  <a:gd name="connsiteX26" fmla="*/ 315319 w 1868187"/>
                  <a:gd name="connsiteY26" fmla="*/ 305998 h 1694229"/>
                  <a:gd name="connsiteX27" fmla="*/ 270134 w 1868187"/>
                  <a:gd name="connsiteY27" fmla="*/ 229110 h 1694229"/>
                  <a:gd name="connsiteX28" fmla="*/ 146784 w 1868187"/>
                  <a:gd name="connsiteY28" fmla="*/ 258373 h 1694229"/>
                  <a:gd name="connsiteX29" fmla="*/ 127734 w 1868187"/>
                  <a:gd name="connsiteY29" fmla="*/ 344785 h 1694229"/>
                  <a:gd name="connsiteX30" fmla="*/ 145174 w 1868187"/>
                  <a:gd name="connsiteY30" fmla="*/ 411312 h 1694229"/>
                  <a:gd name="connsiteX31" fmla="*/ 117735 w 1868187"/>
                  <a:gd name="connsiteY31" fmla="*/ 446172 h 1694229"/>
                  <a:gd name="connsiteX32" fmla="*/ 65347 w 1868187"/>
                  <a:gd name="connsiteY32" fmla="*/ 474059 h 1694229"/>
                  <a:gd name="connsiteX33" fmla="*/ 37246 w 1868187"/>
                  <a:gd name="connsiteY33" fmla="*/ 482063 h 1694229"/>
                  <a:gd name="connsiteX34" fmla="*/ 15281 w 1868187"/>
                  <a:gd name="connsiteY34" fmla="*/ 520310 h 1694229"/>
                  <a:gd name="connsiteX35" fmla="*/ 1469 w 1868187"/>
                  <a:gd name="connsiteY35" fmla="*/ 632745 h 1694229"/>
                  <a:gd name="connsiteX36" fmla="*/ 51178 w 1868187"/>
                  <a:gd name="connsiteY36" fmla="*/ 685967 h 1694229"/>
                  <a:gd name="connsiteX37" fmla="*/ 108092 w 1868187"/>
                  <a:gd name="connsiteY37" fmla="*/ 681547 h 1694229"/>
                  <a:gd name="connsiteX38" fmla="*/ 93804 w 1868187"/>
                  <a:gd name="connsiteY38" fmla="*/ 751806 h 1694229"/>
                  <a:gd name="connsiteX39" fmla="*/ 148631 w 1868187"/>
                  <a:gd name="connsiteY39" fmla="*/ 782248 h 1694229"/>
                  <a:gd name="connsiteX40" fmla="*/ 217629 w 1868187"/>
                  <a:gd name="connsiteY40" fmla="*/ 792460 h 1694229"/>
                  <a:gd name="connsiteX41" fmla="*/ 252932 w 1868187"/>
                  <a:gd name="connsiteY41" fmla="*/ 848431 h 1694229"/>
                  <a:gd name="connsiteX42" fmla="*/ 252339 w 1868187"/>
                  <a:gd name="connsiteY42" fmla="*/ 893503 h 1694229"/>
                  <a:gd name="connsiteX43" fmla="*/ 276863 w 1868187"/>
                  <a:gd name="connsiteY43" fmla="*/ 932978 h 1694229"/>
                  <a:gd name="connsiteX44" fmla="*/ 322521 w 1868187"/>
                  <a:gd name="connsiteY44" fmla="*/ 971570 h 1694229"/>
                  <a:gd name="connsiteX45" fmla="*/ 407654 w 1868187"/>
                  <a:gd name="connsiteY45" fmla="*/ 1025822 h 1694229"/>
                  <a:gd name="connsiteX46" fmla="*/ 443431 w 1868187"/>
                  <a:gd name="connsiteY46" fmla="*/ 1096915 h 1694229"/>
                  <a:gd name="connsiteX47" fmla="*/ 422534 w 1868187"/>
                  <a:gd name="connsiteY47" fmla="*/ 1166488 h 1694229"/>
                  <a:gd name="connsiteX48" fmla="*/ 500581 w 1868187"/>
                  <a:gd name="connsiteY48" fmla="*/ 1222951 h 1694229"/>
                  <a:gd name="connsiteX49" fmla="*/ 572613 w 1868187"/>
                  <a:gd name="connsiteY49" fmla="*/ 1255945 h 1694229"/>
                  <a:gd name="connsiteX50" fmla="*/ 553444 w 1868187"/>
                  <a:gd name="connsiteY50" fmla="*/ 1315648 h 1694229"/>
                  <a:gd name="connsiteX51" fmla="*/ 643931 w 1868187"/>
                  <a:gd name="connsiteY51" fmla="*/ 1468048 h 1694229"/>
                  <a:gd name="connsiteX52" fmla="*/ 736741 w 1868187"/>
                  <a:gd name="connsiteY52" fmla="*/ 1541202 h 1694229"/>
                  <a:gd name="connsiteX53" fmla="*/ 786806 w 1868187"/>
                  <a:gd name="connsiteY53" fmla="*/ 1491860 h 1694229"/>
                  <a:gd name="connsiteX54" fmla="*/ 851396 w 1868187"/>
                  <a:gd name="connsiteY54" fmla="*/ 1519257 h 1694229"/>
                  <a:gd name="connsiteX55" fmla="*/ 905869 w 1868187"/>
                  <a:gd name="connsiteY55" fmla="*/ 1487098 h 1694229"/>
                  <a:gd name="connsiteX56" fmla="*/ 922716 w 1868187"/>
                  <a:gd name="connsiteY56" fmla="*/ 1444922 h 1694229"/>
                  <a:gd name="connsiteX57" fmla="*/ 986593 w 1868187"/>
                  <a:gd name="connsiteY57" fmla="*/ 1531334 h 1694229"/>
                  <a:gd name="connsiteX58" fmla="*/ 1031660 w 1868187"/>
                  <a:gd name="connsiteY58" fmla="*/ 1602428 h 1694229"/>
                  <a:gd name="connsiteX59" fmla="*/ 1101606 w 1868187"/>
                  <a:gd name="connsiteY59" fmla="*/ 1693947 h 1694229"/>
                  <a:gd name="connsiteX60" fmla="*/ 1132504 w 1868187"/>
                  <a:gd name="connsiteY60" fmla="*/ 1630856 h 1694229"/>
                  <a:gd name="connsiteX61" fmla="*/ 1163163 w 1868187"/>
                  <a:gd name="connsiteY61" fmla="*/ 1624376 h 1694229"/>
                  <a:gd name="connsiteX62" fmla="*/ 1206262 w 1868187"/>
                  <a:gd name="connsiteY62" fmla="*/ 1653639 h 1694229"/>
                  <a:gd name="connsiteX63" fmla="*/ 1239837 w 1868187"/>
                  <a:gd name="connsiteY63" fmla="*/ 1612985 h 1694229"/>
                  <a:gd name="connsiteX64" fmla="*/ 1258658 w 1868187"/>
                  <a:gd name="connsiteY64" fmla="*/ 1617602 h 1694229"/>
                  <a:gd name="connsiteX65" fmla="*/ 1292700 w 1868187"/>
                  <a:gd name="connsiteY65" fmla="*/ 1684079 h 1694229"/>
                  <a:gd name="connsiteX66" fmla="*/ 1349256 w 1868187"/>
                  <a:gd name="connsiteY66" fmla="*/ 1660610 h 1694229"/>
                  <a:gd name="connsiteX67" fmla="*/ 1401288 w 1868187"/>
                  <a:gd name="connsiteY67" fmla="*/ 1604489 h 1694229"/>
                  <a:gd name="connsiteX68" fmla="*/ 1452065 w 1868187"/>
                  <a:gd name="connsiteY68" fmla="*/ 1587946 h 1694229"/>
                  <a:gd name="connsiteX69" fmla="*/ 1469744 w 1868187"/>
                  <a:gd name="connsiteY69" fmla="*/ 1643768 h 1694229"/>
                  <a:gd name="connsiteX70" fmla="*/ 1539639 w 1868187"/>
                  <a:gd name="connsiteY70" fmla="*/ 1618090 h 1694229"/>
                  <a:gd name="connsiteX71" fmla="*/ 1570417 w 1868187"/>
                  <a:gd name="connsiteY71" fmla="*/ 1531334 h 1694229"/>
                  <a:gd name="connsiteX72" fmla="*/ 1651853 w 1868187"/>
                  <a:gd name="connsiteY72" fmla="*/ 1441192 h 1694229"/>
                  <a:gd name="connsiteX73" fmla="*/ 1696444 w 1868187"/>
                  <a:gd name="connsiteY73" fmla="*/ 1410062 h 1694229"/>
                  <a:gd name="connsiteX74" fmla="*/ 1724813 w 1868187"/>
                  <a:gd name="connsiteY74" fmla="*/ 1413357 h 1694229"/>
                  <a:gd name="connsiteX75" fmla="*/ 1802405 w 1868187"/>
                  <a:gd name="connsiteY75" fmla="*/ 1402749 h 1694229"/>
                  <a:gd name="connsiteX76" fmla="*/ 1797524 w 1868187"/>
                  <a:gd name="connsiteY76" fmla="*/ 1456313 h 1694229"/>
                  <a:gd name="connsiteX77" fmla="*/ 1855691 w 1868187"/>
                  <a:gd name="connsiteY77" fmla="*/ 1479634 h 1694229"/>
                  <a:gd name="connsiteX78" fmla="*/ 1857299 w 1868187"/>
                  <a:gd name="connsiteY78" fmla="*/ 1457000 h 1694229"/>
                  <a:gd name="connsiteX79" fmla="*/ 1861403 w 1868187"/>
                  <a:gd name="connsiteY79" fmla="*/ 1401373 h 1694229"/>
                  <a:gd name="connsiteX80" fmla="*/ 1863844 w 1868187"/>
                  <a:gd name="connsiteY80" fmla="*/ 1326546 h 1694229"/>
                  <a:gd name="connsiteX81" fmla="*/ 1797946 w 1868187"/>
                  <a:gd name="connsiteY81" fmla="*/ 1305140 h 1694229"/>
                  <a:gd name="connsiteX82" fmla="*/ 1747763 w 1868187"/>
                  <a:gd name="connsiteY82" fmla="*/ 1264979 h 1694229"/>
                  <a:gd name="connsiteX83" fmla="*/ 1737459 w 1868187"/>
                  <a:gd name="connsiteY83" fmla="*/ 1176356 h 1694229"/>
                  <a:gd name="connsiteX84" fmla="*/ 1704241 w 1868187"/>
                  <a:gd name="connsiteY84" fmla="*/ 1038783 h 1694229"/>
                  <a:gd name="connsiteX85" fmla="*/ 1627446 w 1868187"/>
                  <a:gd name="connsiteY85" fmla="*/ 972257 h 1694229"/>
                  <a:gd name="connsiteX86" fmla="*/ 1594228 w 1868187"/>
                  <a:gd name="connsiteY86" fmla="*/ 917660 h 1694229"/>
                  <a:gd name="connsiteX87" fmla="*/ 1544162 w 1868187"/>
                  <a:gd name="connsiteY87" fmla="*/ 872587 h 1694229"/>
                  <a:gd name="connsiteX88" fmla="*/ 1472251 w 1868187"/>
                  <a:gd name="connsiteY88" fmla="*/ 845878 h 1694229"/>
                  <a:gd name="connsiteX89" fmla="*/ 1449150 w 1868187"/>
                  <a:gd name="connsiteY89" fmla="*/ 823245 h 1694229"/>
                  <a:gd name="connsiteX90" fmla="*/ 1477013 w 1868187"/>
                  <a:gd name="connsiteY90" fmla="*/ 784801 h 1694229"/>
                  <a:gd name="connsiteX91" fmla="*/ 1458319 w 1868187"/>
                  <a:gd name="connsiteY91" fmla="*/ 748910 h 1694229"/>
                  <a:gd name="connsiteX92" fmla="*/ 1463081 w 1868187"/>
                  <a:gd name="connsiteY92" fmla="*/ 725098 h 1694229"/>
                  <a:gd name="connsiteX93" fmla="*/ 1488076 w 1868187"/>
                  <a:gd name="connsiteY93" fmla="*/ 724035 h 1694229"/>
                  <a:gd name="connsiteX94" fmla="*/ 1580416 w 1868187"/>
                  <a:gd name="connsiteY94" fmla="*/ 740220 h 1694229"/>
                  <a:gd name="connsiteX95" fmla="*/ 1615719 w 1868187"/>
                  <a:gd name="connsiteY95" fmla="*/ 683758 h 1694229"/>
                  <a:gd name="connsiteX96" fmla="*/ 1603753 w 1868187"/>
                  <a:gd name="connsiteY96" fmla="*/ 553648 h 1694229"/>
                  <a:gd name="connsiteX97" fmla="*/ 1620956 w 1868187"/>
                  <a:gd name="connsiteY97" fmla="*/ 405322 h 1694229"/>
                  <a:gd name="connsiteX0" fmla="*/ 1620956 w 1872005"/>
                  <a:gd name="connsiteY0" fmla="*/ 405322 h 1694229"/>
                  <a:gd name="connsiteX1" fmla="*/ 1548806 w 1872005"/>
                  <a:gd name="connsiteY1" fmla="*/ 372673 h 1694229"/>
                  <a:gd name="connsiteX2" fmla="*/ 1458557 w 1872005"/>
                  <a:gd name="connsiteY2" fmla="*/ 348860 h 1694229"/>
                  <a:gd name="connsiteX3" fmla="*/ 1405237 w 1872005"/>
                  <a:gd name="connsiteY3" fmla="*/ 271776 h 1694229"/>
                  <a:gd name="connsiteX4" fmla="*/ 1382136 w 1872005"/>
                  <a:gd name="connsiteY4" fmla="*/ 169931 h 1694229"/>
                  <a:gd name="connsiteX5" fmla="*/ 1346239 w 1872005"/>
                  <a:gd name="connsiteY5" fmla="*/ 1869 h 1694229"/>
                  <a:gd name="connsiteX6" fmla="*/ 1278870 w 1872005"/>
                  <a:gd name="connsiteY6" fmla="*/ 43567 h 1694229"/>
                  <a:gd name="connsiteX7" fmla="*/ 1273302 w 1872005"/>
                  <a:gd name="connsiteY7" fmla="*/ 101090 h 1694229"/>
                  <a:gd name="connsiteX8" fmla="*/ 1257397 w 1872005"/>
                  <a:gd name="connsiteY8" fmla="*/ 152303 h 1694229"/>
                  <a:gd name="connsiteX9" fmla="*/ 1237872 w 1872005"/>
                  <a:gd name="connsiteY9" fmla="*/ 204316 h 1694229"/>
                  <a:gd name="connsiteX10" fmla="*/ 1236143 w 1872005"/>
                  <a:gd name="connsiteY10" fmla="*/ 273739 h 1694229"/>
                  <a:gd name="connsiteX11" fmla="*/ 1163162 w 1872005"/>
                  <a:gd name="connsiteY11" fmla="*/ 283903 h 1694229"/>
                  <a:gd name="connsiteX12" fmla="*/ 1098809 w 1872005"/>
                  <a:gd name="connsiteY12" fmla="*/ 285917 h 1694229"/>
                  <a:gd name="connsiteX13" fmla="*/ 1051208 w 1872005"/>
                  <a:gd name="connsiteY13" fmla="*/ 346183 h 1694229"/>
                  <a:gd name="connsiteX14" fmla="*/ 996593 w 1872005"/>
                  <a:gd name="connsiteY14" fmla="*/ 371690 h 1694229"/>
                  <a:gd name="connsiteX15" fmla="*/ 943969 w 1872005"/>
                  <a:gd name="connsiteY15" fmla="*/ 358385 h 1694229"/>
                  <a:gd name="connsiteX16" fmla="*/ 837229 w 1872005"/>
                  <a:gd name="connsiteY16" fmla="*/ 376257 h 1694229"/>
                  <a:gd name="connsiteX17" fmla="*/ 814246 w 1872005"/>
                  <a:gd name="connsiteY17" fmla="*/ 440035 h 1694229"/>
                  <a:gd name="connsiteX18" fmla="*/ 797163 w 1872005"/>
                  <a:gd name="connsiteY18" fmla="*/ 475926 h 1694229"/>
                  <a:gd name="connsiteX19" fmla="*/ 715132 w 1872005"/>
                  <a:gd name="connsiteY19" fmla="*/ 494632 h 1694229"/>
                  <a:gd name="connsiteX20" fmla="*/ 697320 w 1872005"/>
                  <a:gd name="connsiteY20" fmla="*/ 440647 h 1694229"/>
                  <a:gd name="connsiteX21" fmla="*/ 653456 w 1872005"/>
                  <a:gd name="connsiteY21" fmla="*/ 420298 h 1694229"/>
                  <a:gd name="connsiteX22" fmla="*/ 518140 w 1872005"/>
                  <a:gd name="connsiteY22" fmla="*/ 420641 h 1694229"/>
                  <a:gd name="connsiteX23" fmla="*/ 434263 w 1872005"/>
                  <a:gd name="connsiteY23" fmla="*/ 447350 h 1694229"/>
                  <a:gd name="connsiteX24" fmla="*/ 401044 w 1872005"/>
                  <a:gd name="connsiteY24" fmla="*/ 420298 h 1694229"/>
                  <a:gd name="connsiteX25" fmla="*/ 381994 w 1872005"/>
                  <a:gd name="connsiteY25" fmla="*/ 358385 h 1694229"/>
                  <a:gd name="connsiteX26" fmla="*/ 315319 w 1872005"/>
                  <a:gd name="connsiteY26" fmla="*/ 305998 h 1694229"/>
                  <a:gd name="connsiteX27" fmla="*/ 270134 w 1872005"/>
                  <a:gd name="connsiteY27" fmla="*/ 229110 h 1694229"/>
                  <a:gd name="connsiteX28" fmla="*/ 146784 w 1872005"/>
                  <a:gd name="connsiteY28" fmla="*/ 258373 h 1694229"/>
                  <a:gd name="connsiteX29" fmla="*/ 127734 w 1872005"/>
                  <a:gd name="connsiteY29" fmla="*/ 344785 h 1694229"/>
                  <a:gd name="connsiteX30" fmla="*/ 145174 w 1872005"/>
                  <a:gd name="connsiteY30" fmla="*/ 411312 h 1694229"/>
                  <a:gd name="connsiteX31" fmla="*/ 117735 w 1872005"/>
                  <a:gd name="connsiteY31" fmla="*/ 446172 h 1694229"/>
                  <a:gd name="connsiteX32" fmla="*/ 65347 w 1872005"/>
                  <a:gd name="connsiteY32" fmla="*/ 474059 h 1694229"/>
                  <a:gd name="connsiteX33" fmla="*/ 37246 w 1872005"/>
                  <a:gd name="connsiteY33" fmla="*/ 482063 h 1694229"/>
                  <a:gd name="connsiteX34" fmla="*/ 15281 w 1872005"/>
                  <a:gd name="connsiteY34" fmla="*/ 520310 h 1694229"/>
                  <a:gd name="connsiteX35" fmla="*/ 1469 w 1872005"/>
                  <a:gd name="connsiteY35" fmla="*/ 632745 h 1694229"/>
                  <a:gd name="connsiteX36" fmla="*/ 51178 w 1872005"/>
                  <a:gd name="connsiteY36" fmla="*/ 685967 h 1694229"/>
                  <a:gd name="connsiteX37" fmla="*/ 108092 w 1872005"/>
                  <a:gd name="connsiteY37" fmla="*/ 681547 h 1694229"/>
                  <a:gd name="connsiteX38" fmla="*/ 93804 w 1872005"/>
                  <a:gd name="connsiteY38" fmla="*/ 751806 h 1694229"/>
                  <a:gd name="connsiteX39" fmla="*/ 148631 w 1872005"/>
                  <a:gd name="connsiteY39" fmla="*/ 782248 h 1694229"/>
                  <a:gd name="connsiteX40" fmla="*/ 217629 w 1872005"/>
                  <a:gd name="connsiteY40" fmla="*/ 792460 h 1694229"/>
                  <a:gd name="connsiteX41" fmla="*/ 252932 w 1872005"/>
                  <a:gd name="connsiteY41" fmla="*/ 848431 h 1694229"/>
                  <a:gd name="connsiteX42" fmla="*/ 252339 w 1872005"/>
                  <a:gd name="connsiteY42" fmla="*/ 893503 h 1694229"/>
                  <a:gd name="connsiteX43" fmla="*/ 276863 w 1872005"/>
                  <a:gd name="connsiteY43" fmla="*/ 932978 h 1694229"/>
                  <a:gd name="connsiteX44" fmla="*/ 322521 w 1872005"/>
                  <a:gd name="connsiteY44" fmla="*/ 971570 h 1694229"/>
                  <a:gd name="connsiteX45" fmla="*/ 407654 w 1872005"/>
                  <a:gd name="connsiteY45" fmla="*/ 1025822 h 1694229"/>
                  <a:gd name="connsiteX46" fmla="*/ 443431 w 1872005"/>
                  <a:gd name="connsiteY46" fmla="*/ 1096915 h 1694229"/>
                  <a:gd name="connsiteX47" fmla="*/ 422534 w 1872005"/>
                  <a:gd name="connsiteY47" fmla="*/ 1166488 h 1694229"/>
                  <a:gd name="connsiteX48" fmla="*/ 500581 w 1872005"/>
                  <a:gd name="connsiteY48" fmla="*/ 1222951 h 1694229"/>
                  <a:gd name="connsiteX49" fmla="*/ 572613 w 1872005"/>
                  <a:gd name="connsiteY49" fmla="*/ 1255945 h 1694229"/>
                  <a:gd name="connsiteX50" fmla="*/ 553444 w 1872005"/>
                  <a:gd name="connsiteY50" fmla="*/ 1315648 h 1694229"/>
                  <a:gd name="connsiteX51" fmla="*/ 643931 w 1872005"/>
                  <a:gd name="connsiteY51" fmla="*/ 1468048 h 1694229"/>
                  <a:gd name="connsiteX52" fmla="*/ 736741 w 1872005"/>
                  <a:gd name="connsiteY52" fmla="*/ 1541202 h 1694229"/>
                  <a:gd name="connsiteX53" fmla="*/ 786806 w 1872005"/>
                  <a:gd name="connsiteY53" fmla="*/ 1491860 h 1694229"/>
                  <a:gd name="connsiteX54" fmla="*/ 851396 w 1872005"/>
                  <a:gd name="connsiteY54" fmla="*/ 1519257 h 1694229"/>
                  <a:gd name="connsiteX55" fmla="*/ 905869 w 1872005"/>
                  <a:gd name="connsiteY55" fmla="*/ 1487098 h 1694229"/>
                  <a:gd name="connsiteX56" fmla="*/ 922716 w 1872005"/>
                  <a:gd name="connsiteY56" fmla="*/ 1444922 h 1694229"/>
                  <a:gd name="connsiteX57" fmla="*/ 986593 w 1872005"/>
                  <a:gd name="connsiteY57" fmla="*/ 1531334 h 1694229"/>
                  <a:gd name="connsiteX58" fmla="*/ 1031660 w 1872005"/>
                  <a:gd name="connsiteY58" fmla="*/ 1602428 h 1694229"/>
                  <a:gd name="connsiteX59" fmla="*/ 1101606 w 1872005"/>
                  <a:gd name="connsiteY59" fmla="*/ 1693947 h 1694229"/>
                  <a:gd name="connsiteX60" fmla="*/ 1132504 w 1872005"/>
                  <a:gd name="connsiteY60" fmla="*/ 1630856 h 1694229"/>
                  <a:gd name="connsiteX61" fmla="*/ 1163163 w 1872005"/>
                  <a:gd name="connsiteY61" fmla="*/ 1624376 h 1694229"/>
                  <a:gd name="connsiteX62" fmla="*/ 1206262 w 1872005"/>
                  <a:gd name="connsiteY62" fmla="*/ 1653639 h 1694229"/>
                  <a:gd name="connsiteX63" fmla="*/ 1239837 w 1872005"/>
                  <a:gd name="connsiteY63" fmla="*/ 1612985 h 1694229"/>
                  <a:gd name="connsiteX64" fmla="*/ 1258658 w 1872005"/>
                  <a:gd name="connsiteY64" fmla="*/ 1617602 h 1694229"/>
                  <a:gd name="connsiteX65" fmla="*/ 1292700 w 1872005"/>
                  <a:gd name="connsiteY65" fmla="*/ 1684079 h 1694229"/>
                  <a:gd name="connsiteX66" fmla="*/ 1349256 w 1872005"/>
                  <a:gd name="connsiteY66" fmla="*/ 1660610 h 1694229"/>
                  <a:gd name="connsiteX67" fmla="*/ 1401288 w 1872005"/>
                  <a:gd name="connsiteY67" fmla="*/ 1604489 h 1694229"/>
                  <a:gd name="connsiteX68" fmla="*/ 1452065 w 1872005"/>
                  <a:gd name="connsiteY68" fmla="*/ 1587946 h 1694229"/>
                  <a:gd name="connsiteX69" fmla="*/ 1469744 w 1872005"/>
                  <a:gd name="connsiteY69" fmla="*/ 1643768 h 1694229"/>
                  <a:gd name="connsiteX70" fmla="*/ 1539639 w 1872005"/>
                  <a:gd name="connsiteY70" fmla="*/ 1618090 h 1694229"/>
                  <a:gd name="connsiteX71" fmla="*/ 1570417 w 1872005"/>
                  <a:gd name="connsiteY71" fmla="*/ 1531334 h 1694229"/>
                  <a:gd name="connsiteX72" fmla="*/ 1651853 w 1872005"/>
                  <a:gd name="connsiteY72" fmla="*/ 1441192 h 1694229"/>
                  <a:gd name="connsiteX73" fmla="*/ 1696444 w 1872005"/>
                  <a:gd name="connsiteY73" fmla="*/ 1410062 h 1694229"/>
                  <a:gd name="connsiteX74" fmla="*/ 1724813 w 1872005"/>
                  <a:gd name="connsiteY74" fmla="*/ 1413357 h 1694229"/>
                  <a:gd name="connsiteX75" fmla="*/ 1802405 w 1872005"/>
                  <a:gd name="connsiteY75" fmla="*/ 1402749 h 1694229"/>
                  <a:gd name="connsiteX76" fmla="*/ 1797524 w 1872005"/>
                  <a:gd name="connsiteY76" fmla="*/ 1456313 h 1694229"/>
                  <a:gd name="connsiteX77" fmla="*/ 1855691 w 1872005"/>
                  <a:gd name="connsiteY77" fmla="*/ 1479634 h 1694229"/>
                  <a:gd name="connsiteX78" fmla="*/ 1871943 w 1872005"/>
                  <a:gd name="connsiteY78" fmla="*/ 1454448 h 1694229"/>
                  <a:gd name="connsiteX79" fmla="*/ 1861403 w 1872005"/>
                  <a:gd name="connsiteY79" fmla="*/ 1401373 h 1694229"/>
                  <a:gd name="connsiteX80" fmla="*/ 1863844 w 1872005"/>
                  <a:gd name="connsiteY80" fmla="*/ 1326546 h 1694229"/>
                  <a:gd name="connsiteX81" fmla="*/ 1797946 w 1872005"/>
                  <a:gd name="connsiteY81" fmla="*/ 1305140 h 1694229"/>
                  <a:gd name="connsiteX82" fmla="*/ 1747763 w 1872005"/>
                  <a:gd name="connsiteY82" fmla="*/ 1264979 h 1694229"/>
                  <a:gd name="connsiteX83" fmla="*/ 1737459 w 1872005"/>
                  <a:gd name="connsiteY83" fmla="*/ 1176356 h 1694229"/>
                  <a:gd name="connsiteX84" fmla="*/ 1704241 w 1872005"/>
                  <a:gd name="connsiteY84" fmla="*/ 1038783 h 1694229"/>
                  <a:gd name="connsiteX85" fmla="*/ 1627446 w 1872005"/>
                  <a:gd name="connsiteY85" fmla="*/ 972257 h 1694229"/>
                  <a:gd name="connsiteX86" fmla="*/ 1594228 w 1872005"/>
                  <a:gd name="connsiteY86" fmla="*/ 917660 h 1694229"/>
                  <a:gd name="connsiteX87" fmla="*/ 1544162 w 1872005"/>
                  <a:gd name="connsiteY87" fmla="*/ 872587 h 1694229"/>
                  <a:gd name="connsiteX88" fmla="*/ 1472251 w 1872005"/>
                  <a:gd name="connsiteY88" fmla="*/ 845878 h 1694229"/>
                  <a:gd name="connsiteX89" fmla="*/ 1449150 w 1872005"/>
                  <a:gd name="connsiteY89" fmla="*/ 823245 h 1694229"/>
                  <a:gd name="connsiteX90" fmla="*/ 1477013 w 1872005"/>
                  <a:gd name="connsiteY90" fmla="*/ 784801 h 1694229"/>
                  <a:gd name="connsiteX91" fmla="*/ 1458319 w 1872005"/>
                  <a:gd name="connsiteY91" fmla="*/ 748910 h 1694229"/>
                  <a:gd name="connsiteX92" fmla="*/ 1463081 w 1872005"/>
                  <a:gd name="connsiteY92" fmla="*/ 725098 h 1694229"/>
                  <a:gd name="connsiteX93" fmla="*/ 1488076 w 1872005"/>
                  <a:gd name="connsiteY93" fmla="*/ 724035 h 1694229"/>
                  <a:gd name="connsiteX94" fmla="*/ 1580416 w 1872005"/>
                  <a:gd name="connsiteY94" fmla="*/ 740220 h 1694229"/>
                  <a:gd name="connsiteX95" fmla="*/ 1615719 w 1872005"/>
                  <a:gd name="connsiteY95" fmla="*/ 683758 h 1694229"/>
                  <a:gd name="connsiteX96" fmla="*/ 1603753 w 1872005"/>
                  <a:gd name="connsiteY96" fmla="*/ 553648 h 1694229"/>
                  <a:gd name="connsiteX97" fmla="*/ 1620956 w 1872005"/>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02405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8788"/>
                  <a:gd name="connsiteY0" fmla="*/ 405322 h 1694229"/>
                  <a:gd name="connsiteX1" fmla="*/ 1548806 w 1888788"/>
                  <a:gd name="connsiteY1" fmla="*/ 372673 h 1694229"/>
                  <a:gd name="connsiteX2" fmla="*/ 1458557 w 1888788"/>
                  <a:gd name="connsiteY2" fmla="*/ 348860 h 1694229"/>
                  <a:gd name="connsiteX3" fmla="*/ 1405237 w 1888788"/>
                  <a:gd name="connsiteY3" fmla="*/ 271776 h 1694229"/>
                  <a:gd name="connsiteX4" fmla="*/ 1382136 w 1888788"/>
                  <a:gd name="connsiteY4" fmla="*/ 169931 h 1694229"/>
                  <a:gd name="connsiteX5" fmla="*/ 1346239 w 1888788"/>
                  <a:gd name="connsiteY5" fmla="*/ 1869 h 1694229"/>
                  <a:gd name="connsiteX6" fmla="*/ 1278870 w 1888788"/>
                  <a:gd name="connsiteY6" fmla="*/ 43567 h 1694229"/>
                  <a:gd name="connsiteX7" fmla="*/ 1273302 w 1888788"/>
                  <a:gd name="connsiteY7" fmla="*/ 101090 h 1694229"/>
                  <a:gd name="connsiteX8" fmla="*/ 1257397 w 1888788"/>
                  <a:gd name="connsiteY8" fmla="*/ 152303 h 1694229"/>
                  <a:gd name="connsiteX9" fmla="*/ 1237872 w 1888788"/>
                  <a:gd name="connsiteY9" fmla="*/ 204316 h 1694229"/>
                  <a:gd name="connsiteX10" fmla="*/ 1236143 w 1888788"/>
                  <a:gd name="connsiteY10" fmla="*/ 273739 h 1694229"/>
                  <a:gd name="connsiteX11" fmla="*/ 1163162 w 1888788"/>
                  <a:gd name="connsiteY11" fmla="*/ 283903 h 1694229"/>
                  <a:gd name="connsiteX12" fmla="*/ 1098809 w 1888788"/>
                  <a:gd name="connsiteY12" fmla="*/ 285917 h 1694229"/>
                  <a:gd name="connsiteX13" fmla="*/ 1051208 w 1888788"/>
                  <a:gd name="connsiteY13" fmla="*/ 346183 h 1694229"/>
                  <a:gd name="connsiteX14" fmla="*/ 996593 w 1888788"/>
                  <a:gd name="connsiteY14" fmla="*/ 371690 h 1694229"/>
                  <a:gd name="connsiteX15" fmla="*/ 943969 w 1888788"/>
                  <a:gd name="connsiteY15" fmla="*/ 358385 h 1694229"/>
                  <a:gd name="connsiteX16" fmla="*/ 837229 w 1888788"/>
                  <a:gd name="connsiteY16" fmla="*/ 376257 h 1694229"/>
                  <a:gd name="connsiteX17" fmla="*/ 814246 w 1888788"/>
                  <a:gd name="connsiteY17" fmla="*/ 440035 h 1694229"/>
                  <a:gd name="connsiteX18" fmla="*/ 797163 w 1888788"/>
                  <a:gd name="connsiteY18" fmla="*/ 475926 h 1694229"/>
                  <a:gd name="connsiteX19" fmla="*/ 715132 w 1888788"/>
                  <a:gd name="connsiteY19" fmla="*/ 494632 h 1694229"/>
                  <a:gd name="connsiteX20" fmla="*/ 697320 w 1888788"/>
                  <a:gd name="connsiteY20" fmla="*/ 440647 h 1694229"/>
                  <a:gd name="connsiteX21" fmla="*/ 653456 w 1888788"/>
                  <a:gd name="connsiteY21" fmla="*/ 420298 h 1694229"/>
                  <a:gd name="connsiteX22" fmla="*/ 518140 w 1888788"/>
                  <a:gd name="connsiteY22" fmla="*/ 420641 h 1694229"/>
                  <a:gd name="connsiteX23" fmla="*/ 434263 w 1888788"/>
                  <a:gd name="connsiteY23" fmla="*/ 447350 h 1694229"/>
                  <a:gd name="connsiteX24" fmla="*/ 401044 w 1888788"/>
                  <a:gd name="connsiteY24" fmla="*/ 420298 h 1694229"/>
                  <a:gd name="connsiteX25" fmla="*/ 381994 w 1888788"/>
                  <a:gd name="connsiteY25" fmla="*/ 358385 h 1694229"/>
                  <a:gd name="connsiteX26" fmla="*/ 315319 w 1888788"/>
                  <a:gd name="connsiteY26" fmla="*/ 305998 h 1694229"/>
                  <a:gd name="connsiteX27" fmla="*/ 270134 w 1888788"/>
                  <a:gd name="connsiteY27" fmla="*/ 229110 h 1694229"/>
                  <a:gd name="connsiteX28" fmla="*/ 146784 w 1888788"/>
                  <a:gd name="connsiteY28" fmla="*/ 258373 h 1694229"/>
                  <a:gd name="connsiteX29" fmla="*/ 127734 w 1888788"/>
                  <a:gd name="connsiteY29" fmla="*/ 344785 h 1694229"/>
                  <a:gd name="connsiteX30" fmla="*/ 145174 w 1888788"/>
                  <a:gd name="connsiteY30" fmla="*/ 411312 h 1694229"/>
                  <a:gd name="connsiteX31" fmla="*/ 117735 w 1888788"/>
                  <a:gd name="connsiteY31" fmla="*/ 446172 h 1694229"/>
                  <a:gd name="connsiteX32" fmla="*/ 65347 w 1888788"/>
                  <a:gd name="connsiteY32" fmla="*/ 474059 h 1694229"/>
                  <a:gd name="connsiteX33" fmla="*/ 37246 w 1888788"/>
                  <a:gd name="connsiteY33" fmla="*/ 482063 h 1694229"/>
                  <a:gd name="connsiteX34" fmla="*/ 15281 w 1888788"/>
                  <a:gd name="connsiteY34" fmla="*/ 520310 h 1694229"/>
                  <a:gd name="connsiteX35" fmla="*/ 1469 w 1888788"/>
                  <a:gd name="connsiteY35" fmla="*/ 632745 h 1694229"/>
                  <a:gd name="connsiteX36" fmla="*/ 51178 w 1888788"/>
                  <a:gd name="connsiteY36" fmla="*/ 685967 h 1694229"/>
                  <a:gd name="connsiteX37" fmla="*/ 108092 w 1888788"/>
                  <a:gd name="connsiteY37" fmla="*/ 681547 h 1694229"/>
                  <a:gd name="connsiteX38" fmla="*/ 93804 w 1888788"/>
                  <a:gd name="connsiteY38" fmla="*/ 751806 h 1694229"/>
                  <a:gd name="connsiteX39" fmla="*/ 148631 w 1888788"/>
                  <a:gd name="connsiteY39" fmla="*/ 782248 h 1694229"/>
                  <a:gd name="connsiteX40" fmla="*/ 217629 w 1888788"/>
                  <a:gd name="connsiteY40" fmla="*/ 792460 h 1694229"/>
                  <a:gd name="connsiteX41" fmla="*/ 252932 w 1888788"/>
                  <a:gd name="connsiteY41" fmla="*/ 848431 h 1694229"/>
                  <a:gd name="connsiteX42" fmla="*/ 252339 w 1888788"/>
                  <a:gd name="connsiteY42" fmla="*/ 893503 h 1694229"/>
                  <a:gd name="connsiteX43" fmla="*/ 276863 w 1888788"/>
                  <a:gd name="connsiteY43" fmla="*/ 932978 h 1694229"/>
                  <a:gd name="connsiteX44" fmla="*/ 322521 w 1888788"/>
                  <a:gd name="connsiteY44" fmla="*/ 971570 h 1694229"/>
                  <a:gd name="connsiteX45" fmla="*/ 407654 w 1888788"/>
                  <a:gd name="connsiteY45" fmla="*/ 1025822 h 1694229"/>
                  <a:gd name="connsiteX46" fmla="*/ 443431 w 1888788"/>
                  <a:gd name="connsiteY46" fmla="*/ 1096915 h 1694229"/>
                  <a:gd name="connsiteX47" fmla="*/ 422534 w 1888788"/>
                  <a:gd name="connsiteY47" fmla="*/ 1166488 h 1694229"/>
                  <a:gd name="connsiteX48" fmla="*/ 500581 w 1888788"/>
                  <a:gd name="connsiteY48" fmla="*/ 1222951 h 1694229"/>
                  <a:gd name="connsiteX49" fmla="*/ 572613 w 1888788"/>
                  <a:gd name="connsiteY49" fmla="*/ 1255945 h 1694229"/>
                  <a:gd name="connsiteX50" fmla="*/ 553444 w 1888788"/>
                  <a:gd name="connsiteY50" fmla="*/ 1315648 h 1694229"/>
                  <a:gd name="connsiteX51" fmla="*/ 643931 w 1888788"/>
                  <a:gd name="connsiteY51" fmla="*/ 1468048 h 1694229"/>
                  <a:gd name="connsiteX52" fmla="*/ 736741 w 1888788"/>
                  <a:gd name="connsiteY52" fmla="*/ 1541202 h 1694229"/>
                  <a:gd name="connsiteX53" fmla="*/ 786806 w 1888788"/>
                  <a:gd name="connsiteY53" fmla="*/ 1491860 h 1694229"/>
                  <a:gd name="connsiteX54" fmla="*/ 851396 w 1888788"/>
                  <a:gd name="connsiteY54" fmla="*/ 1519257 h 1694229"/>
                  <a:gd name="connsiteX55" fmla="*/ 905869 w 1888788"/>
                  <a:gd name="connsiteY55" fmla="*/ 1487098 h 1694229"/>
                  <a:gd name="connsiteX56" fmla="*/ 922716 w 1888788"/>
                  <a:gd name="connsiteY56" fmla="*/ 1444922 h 1694229"/>
                  <a:gd name="connsiteX57" fmla="*/ 986593 w 1888788"/>
                  <a:gd name="connsiteY57" fmla="*/ 1531334 h 1694229"/>
                  <a:gd name="connsiteX58" fmla="*/ 1031660 w 1888788"/>
                  <a:gd name="connsiteY58" fmla="*/ 1602428 h 1694229"/>
                  <a:gd name="connsiteX59" fmla="*/ 1101606 w 1888788"/>
                  <a:gd name="connsiteY59" fmla="*/ 1693947 h 1694229"/>
                  <a:gd name="connsiteX60" fmla="*/ 1132504 w 1888788"/>
                  <a:gd name="connsiteY60" fmla="*/ 1630856 h 1694229"/>
                  <a:gd name="connsiteX61" fmla="*/ 1163163 w 1888788"/>
                  <a:gd name="connsiteY61" fmla="*/ 1624376 h 1694229"/>
                  <a:gd name="connsiteX62" fmla="*/ 1206262 w 1888788"/>
                  <a:gd name="connsiteY62" fmla="*/ 1653639 h 1694229"/>
                  <a:gd name="connsiteX63" fmla="*/ 1239837 w 1888788"/>
                  <a:gd name="connsiteY63" fmla="*/ 1612985 h 1694229"/>
                  <a:gd name="connsiteX64" fmla="*/ 1258658 w 1888788"/>
                  <a:gd name="connsiteY64" fmla="*/ 1617602 h 1694229"/>
                  <a:gd name="connsiteX65" fmla="*/ 1292700 w 1888788"/>
                  <a:gd name="connsiteY65" fmla="*/ 1684079 h 1694229"/>
                  <a:gd name="connsiteX66" fmla="*/ 1349256 w 1888788"/>
                  <a:gd name="connsiteY66" fmla="*/ 1660610 h 1694229"/>
                  <a:gd name="connsiteX67" fmla="*/ 1401288 w 1888788"/>
                  <a:gd name="connsiteY67" fmla="*/ 1604489 h 1694229"/>
                  <a:gd name="connsiteX68" fmla="*/ 1452065 w 1888788"/>
                  <a:gd name="connsiteY68" fmla="*/ 1587946 h 1694229"/>
                  <a:gd name="connsiteX69" fmla="*/ 1469744 w 1888788"/>
                  <a:gd name="connsiteY69" fmla="*/ 1643768 h 1694229"/>
                  <a:gd name="connsiteX70" fmla="*/ 1539639 w 1888788"/>
                  <a:gd name="connsiteY70" fmla="*/ 1618090 h 1694229"/>
                  <a:gd name="connsiteX71" fmla="*/ 1570417 w 1888788"/>
                  <a:gd name="connsiteY71" fmla="*/ 1531334 h 1694229"/>
                  <a:gd name="connsiteX72" fmla="*/ 1651853 w 1888788"/>
                  <a:gd name="connsiteY72" fmla="*/ 1441192 h 1694229"/>
                  <a:gd name="connsiteX73" fmla="*/ 1696444 w 1888788"/>
                  <a:gd name="connsiteY73" fmla="*/ 1410062 h 1694229"/>
                  <a:gd name="connsiteX74" fmla="*/ 1724813 w 1888788"/>
                  <a:gd name="connsiteY74" fmla="*/ 1413357 h 1694229"/>
                  <a:gd name="connsiteX75" fmla="*/ 1814608 w 1888788"/>
                  <a:gd name="connsiteY75" fmla="*/ 1402749 h 1694229"/>
                  <a:gd name="connsiteX76" fmla="*/ 1797524 w 1888788"/>
                  <a:gd name="connsiteY76" fmla="*/ 1456313 h 1694229"/>
                  <a:gd name="connsiteX77" fmla="*/ 1884978 w 1888788"/>
                  <a:gd name="connsiteY77" fmla="*/ 1492399 h 1694229"/>
                  <a:gd name="connsiteX78" fmla="*/ 1871943 w 1888788"/>
                  <a:gd name="connsiteY78" fmla="*/ 1454448 h 1694229"/>
                  <a:gd name="connsiteX79" fmla="*/ 1861403 w 1888788"/>
                  <a:gd name="connsiteY79" fmla="*/ 1401373 h 1694229"/>
                  <a:gd name="connsiteX80" fmla="*/ 1863844 w 1888788"/>
                  <a:gd name="connsiteY80" fmla="*/ 1326546 h 1694229"/>
                  <a:gd name="connsiteX81" fmla="*/ 1797946 w 1888788"/>
                  <a:gd name="connsiteY81" fmla="*/ 1305140 h 1694229"/>
                  <a:gd name="connsiteX82" fmla="*/ 1747763 w 1888788"/>
                  <a:gd name="connsiteY82" fmla="*/ 1264979 h 1694229"/>
                  <a:gd name="connsiteX83" fmla="*/ 1737459 w 1888788"/>
                  <a:gd name="connsiteY83" fmla="*/ 1176356 h 1694229"/>
                  <a:gd name="connsiteX84" fmla="*/ 1704241 w 1888788"/>
                  <a:gd name="connsiteY84" fmla="*/ 1038783 h 1694229"/>
                  <a:gd name="connsiteX85" fmla="*/ 1627446 w 1888788"/>
                  <a:gd name="connsiteY85" fmla="*/ 972257 h 1694229"/>
                  <a:gd name="connsiteX86" fmla="*/ 1594228 w 1888788"/>
                  <a:gd name="connsiteY86" fmla="*/ 917660 h 1694229"/>
                  <a:gd name="connsiteX87" fmla="*/ 1544162 w 1888788"/>
                  <a:gd name="connsiteY87" fmla="*/ 872587 h 1694229"/>
                  <a:gd name="connsiteX88" fmla="*/ 1472251 w 1888788"/>
                  <a:gd name="connsiteY88" fmla="*/ 845878 h 1694229"/>
                  <a:gd name="connsiteX89" fmla="*/ 1449150 w 1888788"/>
                  <a:gd name="connsiteY89" fmla="*/ 823245 h 1694229"/>
                  <a:gd name="connsiteX90" fmla="*/ 1477013 w 1888788"/>
                  <a:gd name="connsiteY90" fmla="*/ 784801 h 1694229"/>
                  <a:gd name="connsiteX91" fmla="*/ 1458319 w 1888788"/>
                  <a:gd name="connsiteY91" fmla="*/ 748910 h 1694229"/>
                  <a:gd name="connsiteX92" fmla="*/ 1463081 w 1888788"/>
                  <a:gd name="connsiteY92" fmla="*/ 725098 h 1694229"/>
                  <a:gd name="connsiteX93" fmla="*/ 1488076 w 1888788"/>
                  <a:gd name="connsiteY93" fmla="*/ 724035 h 1694229"/>
                  <a:gd name="connsiteX94" fmla="*/ 1580416 w 1888788"/>
                  <a:gd name="connsiteY94" fmla="*/ 740220 h 1694229"/>
                  <a:gd name="connsiteX95" fmla="*/ 1615719 w 1888788"/>
                  <a:gd name="connsiteY95" fmla="*/ 683758 h 1694229"/>
                  <a:gd name="connsiteX96" fmla="*/ 1603753 w 1888788"/>
                  <a:gd name="connsiteY96" fmla="*/ 553648 h 1694229"/>
                  <a:gd name="connsiteX97" fmla="*/ 1620956 w 1888788"/>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53444 w 1887825"/>
                  <a:gd name="connsiteY50" fmla="*/ 1315648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43931 w 1887825"/>
                  <a:gd name="connsiteY51" fmla="*/ 1468048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 name="connsiteX0" fmla="*/ 1620956 w 1887825"/>
                  <a:gd name="connsiteY0" fmla="*/ 405322 h 1694229"/>
                  <a:gd name="connsiteX1" fmla="*/ 1548806 w 1887825"/>
                  <a:gd name="connsiteY1" fmla="*/ 372673 h 1694229"/>
                  <a:gd name="connsiteX2" fmla="*/ 1458557 w 1887825"/>
                  <a:gd name="connsiteY2" fmla="*/ 348860 h 1694229"/>
                  <a:gd name="connsiteX3" fmla="*/ 1405237 w 1887825"/>
                  <a:gd name="connsiteY3" fmla="*/ 271776 h 1694229"/>
                  <a:gd name="connsiteX4" fmla="*/ 1382136 w 1887825"/>
                  <a:gd name="connsiteY4" fmla="*/ 169931 h 1694229"/>
                  <a:gd name="connsiteX5" fmla="*/ 1346239 w 1887825"/>
                  <a:gd name="connsiteY5" fmla="*/ 1869 h 1694229"/>
                  <a:gd name="connsiteX6" fmla="*/ 1278870 w 1887825"/>
                  <a:gd name="connsiteY6" fmla="*/ 43567 h 1694229"/>
                  <a:gd name="connsiteX7" fmla="*/ 1273302 w 1887825"/>
                  <a:gd name="connsiteY7" fmla="*/ 101090 h 1694229"/>
                  <a:gd name="connsiteX8" fmla="*/ 1257397 w 1887825"/>
                  <a:gd name="connsiteY8" fmla="*/ 152303 h 1694229"/>
                  <a:gd name="connsiteX9" fmla="*/ 1237872 w 1887825"/>
                  <a:gd name="connsiteY9" fmla="*/ 204316 h 1694229"/>
                  <a:gd name="connsiteX10" fmla="*/ 1236143 w 1887825"/>
                  <a:gd name="connsiteY10" fmla="*/ 273739 h 1694229"/>
                  <a:gd name="connsiteX11" fmla="*/ 1163162 w 1887825"/>
                  <a:gd name="connsiteY11" fmla="*/ 283903 h 1694229"/>
                  <a:gd name="connsiteX12" fmla="*/ 1098809 w 1887825"/>
                  <a:gd name="connsiteY12" fmla="*/ 285917 h 1694229"/>
                  <a:gd name="connsiteX13" fmla="*/ 1051208 w 1887825"/>
                  <a:gd name="connsiteY13" fmla="*/ 346183 h 1694229"/>
                  <a:gd name="connsiteX14" fmla="*/ 996593 w 1887825"/>
                  <a:gd name="connsiteY14" fmla="*/ 371690 h 1694229"/>
                  <a:gd name="connsiteX15" fmla="*/ 943969 w 1887825"/>
                  <a:gd name="connsiteY15" fmla="*/ 358385 h 1694229"/>
                  <a:gd name="connsiteX16" fmla="*/ 837229 w 1887825"/>
                  <a:gd name="connsiteY16" fmla="*/ 376257 h 1694229"/>
                  <a:gd name="connsiteX17" fmla="*/ 814246 w 1887825"/>
                  <a:gd name="connsiteY17" fmla="*/ 440035 h 1694229"/>
                  <a:gd name="connsiteX18" fmla="*/ 797163 w 1887825"/>
                  <a:gd name="connsiteY18" fmla="*/ 475926 h 1694229"/>
                  <a:gd name="connsiteX19" fmla="*/ 715132 w 1887825"/>
                  <a:gd name="connsiteY19" fmla="*/ 494632 h 1694229"/>
                  <a:gd name="connsiteX20" fmla="*/ 697320 w 1887825"/>
                  <a:gd name="connsiteY20" fmla="*/ 440647 h 1694229"/>
                  <a:gd name="connsiteX21" fmla="*/ 653456 w 1887825"/>
                  <a:gd name="connsiteY21" fmla="*/ 420298 h 1694229"/>
                  <a:gd name="connsiteX22" fmla="*/ 518140 w 1887825"/>
                  <a:gd name="connsiteY22" fmla="*/ 420641 h 1694229"/>
                  <a:gd name="connsiteX23" fmla="*/ 434263 w 1887825"/>
                  <a:gd name="connsiteY23" fmla="*/ 447350 h 1694229"/>
                  <a:gd name="connsiteX24" fmla="*/ 401044 w 1887825"/>
                  <a:gd name="connsiteY24" fmla="*/ 420298 h 1694229"/>
                  <a:gd name="connsiteX25" fmla="*/ 381994 w 1887825"/>
                  <a:gd name="connsiteY25" fmla="*/ 358385 h 1694229"/>
                  <a:gd name="connsiteX26" fmla="*/ 315319 w 1887825"/>
                  <a:gd name="connsiteY26" fmla="*/ 305998 h 1694229"/>
                  <a:gd name="connsiteX27" fmla="*/ 270134 w 1887825"/>
                  <a:gd name="connsiteY27" fmla="*/ 229110 h 1694229"/>
                  <a:gd name="connsiteX28" fmla="*/ 146784 w 1887825"/>
                  <a:gd name="connsiteY28" fmla="*/ 258373 h 1694229"/>
                  <a:gd name="connsiteX29" fmla="*/ 127734 w 1887825"/>
                  <a:gd name="connsiteY29" fmla="*/ 344785 h 1694229"/>
                  <a:gd name="connsiteX30" fmla="*/ 145174 w 1887825"/>
                  <a:gd name="connsiteY30" fmla="*/ 411312 h 1694229"/>
                  <a:gd name="connsiteX31" fmla="*/ 117735 w 1887825"/>
                  <a:gd name="connsiteY31" fmla="*/ 446172 h 1694229"/>
                  <a:gd name="connsiteX32" fmla="*/ 65347 w 1887825"/>
                  <a:gd name="connsiteY32" fmla="*/ 474059 h 1694229"/>
                  <a:gd name="connsiteX33" fmla="*/ 37246 w 1887825"/>
                  <a:gd name="connsiteY33" fmla="*/ 482063 h 1694229"/>
                  <a:gd name="connsiteX34" fmla="*/ 15281 w 1887825"/>
                  <a:gd name="connsiteY34" fmla="*/ 520310 h 1694229"/>
                  <a:gd name="connsiteX35" fmla="*/ 1469 w 1887825"/>
                  <a:gd name="connsiteY35" fmla="*/ 632745 h 1694229"/>
                  <a:gd name="connsiteX36" fmla="*/ 51178 w 1887825"/>
                  <a:gd name="connsiteY36" fmla="*/ 685967 h 1694229"/>
                  <a:gd name="connsiteX37" fmla="*/ 108092 w 1887825"/>
                  <a:gd name="connsiteY37" fmla="*/ 681547 h 1694229"/>
                  <a:gd name="connsiteX38" fmla="*/ 93804 w 1887825"/>
                  <a:gd name="connsiteY38" fmla="*/ 751806 h 1694229"/>
                  <a:gd name="connsiteX39" fmla="*/ 148631 w 1887825"/>
                  <a:gd name="connsiteY39" fmla="*/ 782248 h 1694229"/>
                  <a:gd name="connsiteX40" fmla="*/ 217629 w 1887825"/>
                  <a:gd name="connsiteY40" fmla="*/ 792460 h 1694229"/>
                  <a:gd name="connsiteX41" fmla="*/ 252932 w 1887825"/>
                  <a:gd name="connsiteY41" fmla="*/ 848431 h 1694229"/>
                  <a:gd name="connsiteX42" fmla="*/ 252339 w 1887825"/>
                  <a:gd name="connsiteY42" fmla="*/ 893503 h 1694229"/>
                  <a:gd name="connsiteX43" fmla="*/ 276863 w 1887825"/>
                  <a:gd name="connsiteY43" fmla="*/ 932978 h 1694229"/>
                  <a:gd name="connsiteX44" fmla="*/ 322521 w 1887825"/>
                  <a:gd name="connsiteY44" fmla="*/ 971570 h 1694229"/>
                  <a:gd name="connsiteX45" fmla="*/ 407654 w 1887825"/>
                  <a:gd name="connsiteY45" fmla="*/ 1025822 h 1694229"/>
                  <a:gd name="connsiteX46" fmla="*/ 443431 w 1887825"/>
                  <a:gd name="connsiteY46" fmla="*/ 1096915 h 1694229"/>
                  <a:gd name="connsiteX47" fmla="*/ 422534 w 1887825"/>
                  <a:gd name="connsiteY47" fmla="*/ 1166488 h 1694229"/>
                  <a:gd name="connsiteX48" fmla="*/ 500581 w 1887825"/>
                  <a:gd name="connsiteY48" fmla="*/ 1222951 h 1694229"/>
                  <a:gd name="connsiteX49" fmla="*/ 572613 w 1887825"/>
                  <a:gd name="connsiteY49" fmla="*/ 1255945 h 1694229"/>
                  <a:gd name="connsiteX50" fmla="*/ 582731 w 1887825"/>
                  <a:gd name="connsiteY50" fmla="*/ 1330966 h 1694229"/>
                  <a:gd name="connsiteX51" fmla="*/ 651253 w 1887825"/>
                  <a:gd name="connsiteY51" fmla="*/ 1450176 h 1694229"/>
                  <a:gd name="connsiteX52" fmla="*/ 736741 w 1887825"/>
                  <a:gd name="connsiteY52" fmla="*/ 1541202 h 1694229"/>
                  <a:gd name="connsiteX53" fmla="*/ 786806 w 1887825"/>
                  <a:gd name="connsiteY53" fmla="*/ 1491860 h 1694229"/>
                  <a:gd name="connsiteX54" fmla="*/ 851396 w 1887825"/>
                  <a:gd name="connsiteY54" fmla="*/ 1519257 h 1694229"/>
                  <a:gd name="connsiteX55" fmla="*/ 905869 w 1887825"/>
                  <a:gd name="connsiteY55" fmla="*/ 1487098 h 1694229"/>
                  <a:gd name="connsiteX56" fmla="*/ 922716 w 1887825"/>
                  <a:gd name="connsiteY56" fmla="*/ 1444922 h 1694229"/>
                  <a:gd name="connsiteX57" fmla="*/ 986593 w 1887825"/>
                  <a:gd name="connsiteY57" fmla="*/ 1531334 h 1694229"/>
                  <a:gd name="connsiteX58" fmla="*/ 1031660 w 1887825"/>
                  <a:gd name="connsiteY58" fmla="*/ 1602428 h 1694229"/>
                  <a:gd name="connsiteX59" fmla="*/ 1101606 w 1887825"/>
                  <a:gd name="connsiteY59" fmla="*/ 1693947 h 1694229"/>
                  <a:gd name="connsiteX60" fmla="*/ 1132504 w 1887825"/>
                  <a:gd name="connsiteY60" fmla="*/ 1630856 h 1694229"/>
                  <a:gd name="connsiteX61" fmla="*/ 1163163 w 1887825"/>
                  <a:gd name="connsiteY61" fmla="*/ 1624376 h 1694229"/>
                  <a:gd name="connsiteX62" fmla="*/ 1206262 w 1887825"/>
                  <a:gd name="connsiteY62" fmla="*/ 1653639 h 1694229"/>
                  <a:gd name="connsiteX63" fmla="*/ 1239837 w 1887825"/>
                  <a:gd name="connsiteY63" fmla="*/ 1612985 h 1694229"/>
                  <a:gd name="connsiteX64" fmla="*/ 1258658 w 1887825"/>
                  <a:gd name="connsiteY64" fmla="*/ 1617602 h 1694229"/>
                  <a:gd name="connsiteX65" fmla="*/ 1292700 w 1887825"/>
                  <a:gd name="connsiteY65" fmla="*/ 1684079 h 1694229"/>
                  <a:gd name="connsiteX66" fmla="*/ 1349256 w 1887825"/>
                  <a:gd name="connsiteY66" fmla="*/ 1660610 h 1694229"/>
                  <a:gd name="connsiteX67" fmla="*/ 1401288 w 1887825"/>
                  <a:gd name="connsiteY67" fmla="*/ 1604489 h 1694229"/>
                  <a:gd name="connsiteX68" fmla="*/ 1452065 w 1887825"/>
                  <a:gd name="connsiteY68" fmla="*/ 1587946 h 1694229"/>
                  <a:gd name="connsiteX69" fmla="*/ 1469744 w 1887825"/>
                  <a:gd name="connsiteY69" fmla="*/ 1643768 h 1694229"/>
                  <a:gd name="connsiteX70" fmla="*/ 1539639 w 1887825"/>
                  <a:gd name="connsiteY70" fmla="*/ 1618090 h 1694229"/>
                  <a:gd name="connsiteX71" fmla="*/ 1570417 w 1887825"/>
                  <a:gd name="connsiteY71" fmla="*/ 1531334 h 1694229"/>
                  <a:gd name="connsiteX72" fmla="*/ 1651853 w 1887825"/>
                  <a:gd name="connsiteY72" fmla="*/ 1441192 h 1694229"/>
                  <a:gd name="connsiteX73" fmla="*/ 1696444 w 1887825"/>
                  <a:gd name="connsiteY73" fmla="*/ 1410062 h 1694229"/>
                  <a:gd name="connsiteX74" fmla="*/ 1724813 w 1887825"/>
                  <a:gd name="connsiteY74" fmla="*/ 1413357 h 1694229"/>
                  <a:gd name="connsiteX75" fmla="*/ 1814608 w 1887825"/>
                  <a:gd name="connsiteY75" fmla="*/ 1402749 h 1694229"/>
                  <a:gd name="connsiteX76" fmla="*/ 1812167 w 1887825"/>
                  <a:gd name="connsiteY76" fmla="*/ 1466525 h 1694229"/>
                  <a:gd name="connsiteX77" fmla="*/ 1884978 w 1887825"/>
                  <a:gd name="connsiteY77" fmla="*/ 1492399 h 1694229"/>
                  <a:gd name="connsiteX78" fmla="*/ 1871943 w 1887825"/>
                  <a:gd name="connsiteY78" fmla="*/ 1454448 h 1694229"/>
                  <a:gd name="connsiteX79" fmla="*/ 1861403 w 1887825"/>
                  <a:gd name="connsiteY79" fmla="*/ 1401373 h 1694229"/>
                  <a:gd name="connsiteX80" fmla="*/ 1863844 w 1887825"/>
                  <a:gd name="connsiteY80" fmla="*/ 1326546 h 1694229"/>
                  <a:gd name="connsiteX81" fmla="*/ 1797946 w 1887825"/>
                  <a:gd name="connsiteY81" fmla="*/ 1305140 h 1694229"/>
                  <a:gd name="connsiteX82" fmla="*/ 1747763 w 1887825"/>
                  <a:gd name="connsiteY82" fmla="*/ 1264979 h 1694229"/>
                  <a:gd name="connsiteX83" fmla="*/ 1737459 w 1887825"/>
                  <a:gd name="connsiteY83" fmla="*/ 1176356 h 1694229"/>
                  <a:gd name="connsiteX84" fmla="*/ 1704241 w 1887825"/>
                  <a:gd name="connsiteY84" fmla="*/ 1038783 h 1694229"/>
                  <a:gd name="connsiteX85" fmla="*/ 1627446 w 1887825"/>
                  <a:gd name="connsiteY85" fmla="*/ 972257 h 1694229"/>
                  <a:gd name="connsiteX86" fmla="*/ 1594228 w 1887825"/>
                  <a:gd name="connsiteY86" fmla="*/ 917660 h 1694229"/>
                  <a:gd name="connsiteX87" fmla="*/ 1544162 w 1887825"/>
                  <a:gd name="connsiteY87" fmla="*/ 872587 h 1694229"/>
                  <a:gd name="connsiteX88" fmla="*/ 1472251 w 1887825"/>
                  <a:gd name="connsiteY88" fmla="*/ 845878 h 1694229"/>
                  <a:gd name="connsiteX89" fmla="*/ 1449150 w 1887825"/>
                  <a:gd name="connsiteY89" fmla="*/ 823245 h 1694229"/>
                  <a:gd name="connsiteX90" fmla="*/ 1477013 w 1887825"/>
                  <a:gd name="connsiteY90" fmla="*/ 784801 h 1694229"/>
                  <a:gd name="connsiteX91" fmla="*/ 1458319 w 1887825"/>
                  <a:gd name="connsiteY91" fmla="*/ 748910 h 1694229"/>
                  <a:gd name="connsiteX92" fmla="*/ 1463081 w 1887825"/>
                  <a:gd name="connsiteY92" fmla="*/ 725098 h 1694229"/>
                  <a:gd name="connsiteX93" fmla="*/ 1488076 w 1887825"/>
                  <a:gd name="connsiteY93" fmla="*/ 724035 h 1694229"/>
                  <a:gd name="connsiteX94" fmla="*/ 1580416 w 1887825"/>
                  <a:gd name="connsiteY94" fmla="*/ 740220 h 1694229"/>
                  <a:gd name="connsiteX95" fmla="*/ 1615719 w 1887825"/>
                  <a:gd name="connsiteY95" fmla="*/ 683758 h 1694229"/>
                  <a:gd name="connsiteX96" fmla="*/ 1603753 w 1887825"/>
                  <a:gd name="connsiteY96" fmla="*/ 553648 h 1694229"/>
                  <a:gd name="connsiteX97" fmla="*/ 1620956 w 1887825"/>
                  <a:gd name="connsiteY97" fmla="*/ 405322 h 169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887825" h="1694229">
                    <a:moveTo>
                      <a:pt x="1620956" y="405322"/>
                    </a:moveTo>
                    <a:cubicBezTo>
                      <a:pt x="1611798" y="375160"/>
                      <a:pt x="1575873" y="382083"/>
                      <a:pt x="1548806" y="372673"/>
                    </a:cubicBezTo>
                    <a:cubicBezTo>
                      <a:pt x="1521740" y="363263"/>
                      <a:pt x="1482485" y="365676"/>
                      <a:pt x="1458557" y="348860"/>
                    </a:cubicBezTo>
                    <a:cubicBezTo>
                      <a:pt x="1434629" y="332044"/>
                      <a:pt x="1417974" y="301598"/>
                      <a:pt x="1405237" y="271776"/>
                    </a:cubicBezTo>
                    <a:cubicBezTo>
                      <a:pt x="1392500" y="241954"/>
                      <a:pt x="1391969" y="214915"/>
                      <a:pt x="1382136" y="169931"/>
                    </a:cubicBezTo>
                    <a:cubicBezTo>
                      <a:pt x="1372303" y="124947"/>
                      <a:pt x="1353688" y="-17918"/>
                      <a:pt x="1346239" y="1869"/>
                    </a:cubicBezTo>
                    <a:cubicBezTo>
                      <a:pt x="1338790" y="21656"/>
                      <a:pt x="1288585" y="9160"/>
                      <a:pt x="1278870" y="43567"/>
                    </a:cubicBezTo>
                    <a:cubicBezTo>
                      <a:pt x="1269155" y="77974"/>
                      <a:pt x="1274440" y="66798"/>
                      <a:pt x="1273302" y="101090"/>
                    </a:cubicBezTo>
                    <a:cubicBezTo>
                      <a:pt x="1272164" y="120063"/>
                      <a:pt x="1263302" y="135099"/>
                      <a:pt x="1257397" y="152303"/>
                    </a:cubicBezTo>
                    <a:cubicBezTo>
                      <a:pt x="1251492" y="169507"/>
                      <a:pt x="1241414" y="184077"/>
                      <a:pt x="1237872" y="204316"/>
                    </a:cubicBezTo>
                    <a:cubicBezTo>
                      <a:pt x="1234330" y="224555"/>
                      <a:pt x="1248595" y="260475"/>
                      <a:pt x="1236143" y="273739"/>
                    </a:cubicBezTo>
                    <a:cubicBezTo>
                      <a:pt x="1223691" y="287004"/>
                      <a:pt x="1198254" y="286979"/>
                      <a:pt x="1163162" y="283903"/>
                    </a:cubicBezTo>
                    <a:cubicBezTo>
                      <a:pt x="1128070" y="280827"/>
                      <a:pt x="1117468" y="275537"/>
                      <a:pt x="1098809" y="285917"/>
                    </a:cubicBezTo>
                    <a:cubicBezTo>
                      <a:pt x="1080150" y="296297"/>
                      <a:pt x="1069871" y="341249"/>
                      <a:pt x="1051208" y="346183"/>
                    </a:cubicBezTo>
                    <a:cubicBezTo>
                      <a:pt x="1037427" y="374095"/>
                      <a:pt x="1014466" y="369656"/>
                      <a:pt x="996593" y="371690"/>
                    </a:cubicBezTo>
                    <a:cubicBezTo>
                      <a:pt x="978720" y="373724"/>
                      <a:pt x="975412" y="370390"/>
                      <a:pt x="943969" y="358385"/>
                    </a:cubicBezTo>
                    <a:cubicBezTo>
                      <a:pt x="912526" y="346380"/>
                      <a:pt x="858849" y="362649"/>
                      <a:pt x="837229" y="376257"/>
                    </a:cubicBezTo>
                    <a:cubicBezTo>
                      <a:pt x="815609" y="389865"/>
                      <a:pt x="820924" y="423424"/>
                      <a:pt x="814246" y="440035"/>
                    </a:cubicBezTo>
                    <a:cubicBezTo>
                      <a:pt x="807568" y="456646"/>
                      <a:pt x="813682" y="466827"/>
                      <a:pt x="797163" y="475926"/>
                    </a:cubicBezTo>
                    <a:cubicBezTo>
                      <a:pt x="780644" y="485025"/>
                      <a:pt x="731772" y="500512"/>
                      <a:pt x="715132" y="494632"/>
                    </a:cubicBezTo>
                    <a:cubicBezTo>
                      <a:pt x="698492" y="488752"/>
                      <a:pt x="707599" y="453036"/>
                      <a:pt x="697320" y="440647"/>
                    </a:cubicBezTo>
                    <a:cubicBezTo>
                      <a:pt x="687041" y="428258"/>
                      <a:pt x="683319" y="423632"/>
                      <a:pt x="653456" y="420298"/>
                    </a:cubicBezTo>
                    <a:cubicBezTo>
                      <a:pt x="623593" y="416964"/>
                      <a:pt x="554672" y="416132"/>
                      <a:pt x="518140" y="420641"/>
                    </a:cubicBezTo>
                    <a:cubicBezTo>
                      <a:pt x="481608" y="425150"/>
                      <a:pt x="453779" y="447407"/>
                      <a:pt x="434263" y="447350"/>
                    </a:cubicBezTo>
                    <a:cubicBezTo>
                      <a:pt x="414747" y="447293"/>
                      <a:pt x="409756" y="435126"/>
                      <a:pt x="401044" y="420298"/>
                    </a:cubicBezTo>
                    <a:cubicBezTo>
                      <a:pt x="392332" y="405470"/>
                      <a:pt x="396281" y="377435"/>
                      <a:pt x="381994" y="358385"/>
                    </a:cubicBezTo>
                    <a:cubicBezTo>
                      <a:pt x="367706" y="339335"/>
                      <a:pt x="333962" y="327544"/>
                      <a:pt x="315319" y="305998"/>
                    </a:cubicBezTo>
                    <a:cubicBezTo>
                      <a:pt x="296676" y="284452"/>
                      <a:pt x="298223" y="237047"/>
                      <a:pt x="270134" y="229110"/>
                    </a:cubicBezTo>
                    <a:cubicBezTo>
                      <a:pt x="242045" y="221173"/>
                      <a:pt x="170517" y="239094"/>
                      <a:pt x="146784" y="258373"/>
                    </a:cubicBezTo>
                    <a:cubicBezTo>
                      <a:pt x="123051" y="277652"/>
                      <a:pt x="128002" y="319295"/>
                      <a:pt x="127734" y="344785"/>
                    </a:cubicBezTo>
                    <a:cubicBezTo>
                      <a:pt x="127466" y="370275"/>
                      <a:pt x="146840" y="394414"/>
                      <a:pt x="145174" y="411312"/>
                    </a:cubicBezTo>
                    <a:cubicBezTo>
                      <a:pt x="143508" y="428210"/>
                      <a:pt x="131040" y="435714"/>
                      <a:pt x="117735" y="446172"/>
                    </a:cubicBezTo>
                    <a:cubicBezTo>
                      <a:pt x="104431" y="456630"/>
                      <a:pt x="78762" y="468077"/>
                      <a:pt x="65347" y="474059"/>
                    </a:cubicBezTo>
                    <a:cubicBezTo>
                      <a:pt x="51932" y="480041"/>
                      <a:pt x="45590" y="474355"/>
                      <a:pt x="37246" y="482063"/>
                    </a:cubicBezTo>
                    <a:cubicBezTo>
                      <a:pt x="28902" y="489771"/>
                      <a:pt x="21244" y="495196"/>
                      <a:pt x="15281" y="520310"/>
                    </a:cubicBezTo>
                    <a:cubicBezTo>
                      <a:pt x="9318" y="545424"/>
                      <a:pt x="-4514" y="605136"/>
                      <a:pt x="1469" y="632745"/>
                    </a:cubicBezTo>
                    <a:cubicBezTo>
                      <a:pt x="7452" y="660354"/>
                      <a:pt x="33408" y="677833"/>
                      <a:pt x="51178" y="685967"/>
                    </a:cubicBezTo>
                    <a:cubicBezTo>
                      <a:pt x="68948" y="694101"/>
                      <a:pt x="100988" y="670574"/>
                      <a:pt x="108092" y="681547"/>
                    </a:cubicBezTo>
                    <a:cubicBezTo>
                      <a:pt x="115196" y="692520"/>
                      <a:pt x="87047" y="735022"/>
                      <a:pt x="93804" y="751806"/>
                    </a:cubicBezTo>
                    <a:cubicBezTo>
                      <a:pt x="100561" y="768590"/>
                      <a:pt x="127994" y="775472"/>
                      <a:pt x="148631" y="782248"/>
                    </a:cubicBezTo>
                    <a:cubicBezTo>
                      <a:pt x="169268" y="789024"/>
                      <a:pt x="200246" y="781430"/>
                      <a:pt x="217629" y="792460"/>
                    </a:cubicBezTo>
                    <a:cubicBezTo>
                      <a:pt x="235013" y="803491"/>
                      <a:pt x="247147" y="831591"/>
                      <a:pt x="252932" y="848431"/>
                    </a:cubicBezTo>
                    <a:cubicBezTo>
                      <a:pt x="258717" y="865271"/>
                      <a:pt x="248351" y="879412"/>
                      <a:pt x="252339" y="893503"/>
                    </a:cubicBezTo>
                    <a:cubicBezTo>
                      <a:pt x="256327" y="907594"/>
                      <a:pt x="265166" y="919967"/>
                      <a:pt x="276863" y="932978"/>
                    </a:cubicBezTo>
                    <a:cubicBezTo>
                      <a:pt x="288560" y="945989"/>
                      <a:pt x="300723" y="956096"/>
                      <a:pt x="322521" y="971570"/>
                    </a:cubicBezTo>
                    <a:cubicBezTo>
                      <a:pt x="344320" y="987044"/>
                      <a:pt x="387502" y="1004931"/>
                      <a:pt x="407654" y="1025822"/>
                    </a:cubicBezTo>
                    <a:cubicBezTo>
                      <a:pt x="427806" y="1046713"/>
                      <a:pt x="440951" y="1073471"/>
                      <a:pt x="443431" y="1096915"/>
                    </a:cubicBezTo>
                    <a:cubicBezTo>
                      <a:pt x="445911" y="1120359"/>
                      <a:pt x="413009" y="1145482"/>
                      <a:pt x="422534" y="1166488"/>
                    </a:cubicBezTo>
                    <a:cubicBezTo>
                      <a:pt x="432059" y="1187494"/>
                      <a:pt x="475568" y="1208042"/>
                      <a:pt x="500581" y="1222951"/>
                    </a:cubicBezTo>
                    <a:cubicBezTo>
                      <a:pt x="525594" y="1237860"/>
                      <a:pt x="558921" y="1237943"/>
                      <a:pt x="572613" y="1255945"/>
                    </a:cubicBezTo>
                    <a:cubicBezTo>
                      <a:pt x="586305" y="1273947"/>
                      <a:pt x="579387" y="1290935"/>
                      <a:pt x="582731" y="1330966"/>
                    </a:cubicBezTo>
                    <a:cubicBezTo>
                      <a:pt x="586075" y="1370997"/>
                      <a:pt x="625585" y="1415137"/>
                      <a:pt x="651253" y="1450176"/>
                    </a:cubicBezTo>
                    <a:cubicBezTo>
                      <a:pt x="676921" y="1485215"/>
                      <a:pt x="714149" y="1534255"/>
                      <a:pt x="736741" y="1541202"/>
                    </a:cubicBezTo>
                    <a:cubicBezTo>
                      <a:pt x="759333" y="1548149"/>
                      <a:pt x="767697" y="1495518"/>
                      <a:pt x="786806" y="1491860"/>
                    </a:cubicBezTo>
                    <a:cubicBezTo>
                      <a:pt x="805915" y="1488203"/>
                      <a:pt x="831552" y="1520051"/>
                      <a:pt x="851396" y="1519257"/>
                    </a:cubicBezTo>
                    <a:cubicBezTo>
                      <a:pt x="871240" y="1518463"/>
                      <a:pt x="893982" y="1499487"/>
                      <a:pt x="905869" y="1487098"/>
                    </a:cubicBezTo>
                    <a:cubicBezTo>
                      <a:pt x="917756" y="1474709"/>
                      <a:pt x="877533" y="1437549"/>
                      <a:pt x="922716" y="1444922"/>
                    </a:cubicBezTo>
                    <a:cubicBezTo>
                      <a:pt x="967899" y="1452295"/>
                      <a:pt x="978199" y="1487211"/>
                      <a:pt x="986593" y="1531334"/>
                    </a:cubicBezTo>
                    <a:cubicBezTo>
                      <a:pt x="994987" y="1575457"/>
                      <a:pt x="997847" y="1588092"/>
                      <a:pt x="1031660" y="1602428"/>
                    </a:cubicBezTo>
                    <a:cubicBezTo>
                      <a:pt x="1065473" y="1616764"/>
                      <a:pt x="1084799" y="1689209"/>
                      <a:pt x="1101606" y="1693947"/>
                    </a:cubicBezTo>
                    <a:cubicBezTo>
                      <a:pt x="1118413" y="1698685"/>
                      <a:pt x="1122245" y="1642451"/>
                      <a:pt x="1132504" y="1630856"/>
                    </a:cubicBezTo>
                    <a:cubicBezTo>
                      <a:pt x="1142764" y="1619261"/>
                      <a:pt x="1150870" y="1620579"/>
                      <a:pt x="1163163" y="1624376"/>
                    </a:cubicBezTo>
                    <a:cubicBezTo>
                      <a:pt x="1175456" y="1628173"/>
                      <a:pt x="1193483" y="1655537"/>
                      <a:pt x="1206262" y="1653639"/>
                    </a:cubicBezTo>
                    <a:cubicBezTo>
                      <a:pt x="1219041" y="1651741"/>
                      <a:pt x="1231104" y="1618991"/>
                      <a:pt x="1239837" y="1612985"/>
                    </a:cubicBezTo>
                    <a:cubicBezTo>
                      <a:pt x="1248570" y="1606979"/>
                      <a:pt x="1249848" y="1605753"/>
                      <a:pt x="1258658" y="1617602"/>
                    </a:cubicBezTo>
                    <a:cubicBezTo>
                      <a:pt x="1267468" y="1629451"/>
                      <a:pt x="1277600" y="1676911"/>
                      <a:pt x="1292700" y="1684079"/>
                    </a:cubicBezTo>
                    <a:cubicBezTo>
                      <a:pt x="1307800" y="1691247"/>
                      <a:pt x="1331158" y="1673875"/>
                      <a:pt x="1349256" y="1660610"/>
                    </a:cubicBezTo>
                    <a:cubicBezTo>
                      <a:pt x="1367354" y="1647345"/>
                      <a:pt x="1384153" y="1616600"/>
                      <a:pt x="1401288" y="1604489"/>
                    </a:cubicBezTo>
                    <a:cubicBezTo>
                      <a:pt x="1418423" y="1592378"/>
                      <a:pt x="1440656" y="1581400"/>
                      <a:pt x="1452065" y="1587946"/>
                    </a:cubicBezTo>
                    <a:cubicBezTo>
                      <a:pt x="1463474" y="1594493"/>
                      <a:pt x="1455148" y="1638744"/>
                      <a:pt x="1469744" y="1643768"/>
                    </a:cubicBezTo>
                    <a:cubicBezTo>
                      <a:pt x="1484340" y="1648792"/>
                      <a:pt x="1522860" y="1636829"/>
                      <a:pt x="1539639" y="1618090"/>
                    </a:cubicBezTo>
                    <a:cubicBezTo>
                      <a:pt x="1556418" y="1599351"/>
                      <a:pt x="1551715" y="1560817"/>
                      <a:pt x="1570417" y="1531334"/>
                    </a:cubicBezTo>
                    <a:cubicBezTo>
                      <a:pt x="1589119" y="1501851"/>
                      <a:pt x="1630849" y="1461404"/>
                      <a:pt x="1651853" y="1441192"/>
                    </a:cubicBezTo>
                    <a:cubicBezTo>
                      <a:pt x="1672857" y="1420980"/>
                      <a:pt x="1684284" y="1414701"/>
                      <a:pt x="1696444" y="1410062"/>
                    </a:cubicBezTo>
                    <a:cubicBezTo>
                      <a:pt x="1708604" y="1405423"/>
                      <a:pt x="1715288" y="1414151"/>
                      <a:pt x="1724813" y="1413357"/>
                    </a:cubicBezTo>
                    <a:cubicBezTo>
                      <a:pt x="1734338" y="1412563"/>
                      <a:pt x="1800049" y="1393888"/>
                      <a:pt x="1814608" y="1402749"/>
                    </a:cubicBezTo>
                    <a:cubicBezTo>
                      <a:pt x="1829167" y="1411610"/>
                      <a:pt x="1800439" y="1451583"/>
                      <a:pt x="1812167" y="1466525"/>
                    </a:cubicBezTo>
                    <a:cubicBezTo>
                      <a:pt x="1823895" y="1481467"/>
                      <a:pt x="1875015" y="1494412"/>
                      <a:pt x="1884978" y="1492399"/>
                    </a:cubicBezTo>
                    <a:cubicBezTo>
                      <a:pt x="1894941" y="1490386"/>
                      <a:pt x="1875872" y="1469619"/>
                      <a:pt x="1871943" y="1454448"/>
                    </a:cubicBezTo>
                    <a:cubicBezTo>
                      <a:pt x="1868014" y="1439277"/>
                      <a:pt x="1862753" y="1422690"/>
                      <a:pt x="1861403" y="1401373"/>
                    </a:cubicBezTo>
                    <a:cubicBezTo>
                      <a:pt x="1860053" y="1380056"/>
                      <a:pt x="1874420" y="1342585"/>
                      <a:pt x="1863844" y="1326546"/>
                    </a:cubicBezTo>
                    <a:cubicBezTo>
                      <a:pt x="1853268" y="1310507"/>
                      <a:pt x="1817293" y="1315401"/>
                      <a:pt x="1797946" y="1305140"/>
                    </a:cubicBezTo>
                    <a:cubicBezTo>
                      <a:pt x="1778599" y="1294879"/>
                      <a:pt x="1757844" y="1286443"/>
                      <a:pt x="1747763" y="1264979"/>
                    </a:cubicBezTo>
                    <a:cubicBezTo>
                      <a:pt x="1737682" y="1243515"/>
                      <a:pt x="1744713" y="1214055"/>
                      <a:pt x="1737459" y="1176356"/>
                    </a:cubicBezTo>
                    <a:cubicBezTo>
                      <a:pt x="1730205" y="1138657"/>
                      <a:pt x="1722576" y="1072799"/>
                      <a:pt x="1704241" y="1038783"/>
                    </a:cubicBezTo>
                    <a:cubicBezTo>
                      <a:pt x="1685906" y="1004767"/>
                      <a:pt x="1645781" y="992444"/>
                      <a:pt x="1627446" y="972257"/>
                    </a:cubicBezTo>
                    <a:cubicBezTo>
                      <a:pt x="1609111" y="952070"/>
                      <a:pt x="1608109" y="934272"/>
                      <a:pt x="1594228" y="917660"/>
                    </a:cubicBezTo>
                    <a:cubicBezTo>
                      <a:pt x="1580347" y="901048"/>
                      <a:pt x="1564491" y="884551"/>
                      <a:pt x="1544162" y="872587"/>
                    </a:cubicBezTo>
                    <a:cubicBezTo>
                      <a:pt x="1523833" y="860623"/>
                      <a:pt x="1488086" y="854102"/>
                      <a:pt x="1472251" y="845878"/>
                    </a:cubicBezTo>
                    <a:cubicBezTo>
                      <a:pt x="1456416" y="837654"/>
                      <a:pt x="1448356" y="833425"/>
                      <a:pt x="1449150" y="823245"/>
                    </a:cubicBezTo>
                    <a:cubicBezTo>
                      <a:pt x="1449944" y="813066"/>
                      <a:pt x="1475485" y="797190"/>
                      <a:pt x="1477013" y="784801"/>
                    </a:cubicBezTo>
                    <a:cubicBezTo>
                      <a:pt x="1478541" y="772412"/>
                      <a:pt x="1460641" y="758860"/>
                      <a:pt x="1458319" y="748910"/>
                    </a:cubicBezTo>
                    <a:cubicBezTo>
                      <a:pt x="1455997" y="738960"/>
                      <a:pt x="1458122" y="729244"/>
                      <a:pt x="1463081" y="725098"/>
                    </a:cubicBezTo>
                    <a:cubicBezTo>
                      <a:pt x="1468040" y="720952"/>
                      <a:pt x="1472995" y="717685"/>
                      <a:pt x="1488076" y="724035"/>
                    </a:cubicBezTo>
                    <a:cubicBezTo>
                      <a:pt x="1503157" y="730385"/>
                      <a:pt x="1559142" y="746933"/>
                      <a:pt x="1580416" y="740220"/>
                    </a:cubicBezTo>
                    <a:cubicBezTo>
                      <a:pt x="1601690" y="733507"/>
                      <a:pt x="1608575" y="718683"/>
                      <a:pt x="1615719" y="683758"/>
                    </a:cubicBezTo>
                    <a:cubicBezTo>
                      <a:pt x="1622863" y="648833"/>
                      <a:pt x="1602880" y="600054"/>
                      <a:pt x="1603753" y="553648"/>
                    </a:cubicBezTo>
                    <a:cubicBezTo>
                      <a:pt x="1604626" y="507242"/>
                      <a:pt x="1630114" y="435484"/>
                      <a:pt x="1620956" y="405322"/>
                    </a:cubicBezTo>
                    <a:close/>
                  </a:path>
                </a:pathLst>
              </a:cu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9" err="1">
                  <a:solidFill>
                    <a:schemeClr val="accent1"/>
                  </a:solidFill>
                </a:endParaRPr>
              </a:p>
            </p:txBody>
          </p:sp>
          <p:sp>
            <p:nvSpPr>
              <p:cNvPr id="884" name="Freeform 83">
                <a:extLst>
                  <a:ext uri="{FF2B5EF4-FFF2-40B4-BE49-F238E27FC236}">
                    <a16:creationId xmlns:a16="http://schemas.microsoft.com/office/drawing/2014/main" id="{E5FFE649-7C03-497A-A59C-99DB778DE8A8}"/>
                  </a:ext>
                </a:extLst>
              </p:cNvPr>
              <p:cNvSpPr>
                <a:spLocks/>
              </p:cNvSpPr>
              <p:nvPr/>
            </p:nvSpPr>
            <p:spPr bwMode="auto">
              <a:xfrm>
                <a:off x="6151403" y="3760138"/>
                <a:ext cx="310573" cy="319434"/>
              </a:xfrm>
              <a:custGeom>
                <a:avLst/>
                <a:gdLst>
                  <a:gd name="connsiteX0" fmla="*/ 3440 w 9933"/>
                  <a:gd name="connsiteY0" fmla="*/ 9133 h 9898"/>
                  <a:gd name="connsiteX1" fmla="*/ 4037 w 9933"/>
                  <a:gd name="connsiteY1" fmla="*/ 9439 h 9898"/>
                  <a:gd name="connsiteX2" fmla="*/ 4485 w 9933"/>
                  <a:gd name="connsiteY2" fmla="*/ 9337 h 9898"/>
                  <a:gd name="connsiteX3" fmla="*/ 5381 w 9933"/>
                  <a:gd name="connsiteY3" fmla="*/ 9898 h 9898"/>
                  <a:gd name="connsiteX4" fmla="*/ 5829 w 9933"/>
                  <a:gd name="connsiteY4" fmla="*/ 9745 h 9898"/>
                  <a:gd name="connsiteX5" fmla="*/ 6052 w 9933"/>
                  <a:gd name="connsiteY5" fmla="*/ 9847 h 9898"/>
                  <a:gd name="connsiteX6" fmla="*/ 6724 w 9933"/>
                  <a:gd name="connsiteY6" fmla="*/ 9643 h 9898"/>
                  <a:gd name="connsiteX7" fmla="*/ 6873 w 9933"/>
                  <a:gd name="connsiteY7" fmla="*/ 9745 h 9898"/>
                  <a:gd name="connsiteX8" fmla="*/ 7172 w 9933"/>
                  <a:gd name="connsiteY8" fmla="*/ 9490 h 9898"/>
                  <a:gd name="connsiteX9" fmla="*/ 7620 w 9933"/>
                  <a:gd name="connsiteY9" fmla="*/ 9184 h 9898"/>
                  <a:gd name="connsiteX10" fmla="*/ 8142 w 9933"/>
                  <a:gd name="connsiteY10" fmla="*/ 9184 h 9898"/>
                  <a:gd name="connsiteX11" fmla="*/ 8366 w 9933"/>
                  <a:gd name="connsiteY11" fmla="*/ 9337 h 9898"/>
                  <a:gd name="connsiteX12" fmla="*/ 8217 w 9933"/>
                  <a:gd name="connsiteY12" fmla="*/ 8929 h 9898"/>
                  <a:gd name="connsiteX13" fmla="*/ 7769 w 9933"/>
                  <a:gd name="connsiteY13" fmla="*/ 8469 h 9898"/>
                  <a:gd name="connsiteX14" fmla="*/ 7321 w 9933"/>
                  <a:gd name="connsiteY14" fmla="*/ 8010 h 9898"/>
                  <a:gd name="connsiteX15" fmla="*/ 6724 w 9933"/>
                  <a:gd name="connsiteY15" fmla="*/ 7602 h 9898"/>
                  <a:gd name="connsiteX16" fmla="*/ 7097 w 9933"/>
                  <a:gd name="connsiteY16" fmla="*/ 7449 h 9898"/>
                  <a:gd name="connsiteX17" fmla="*/ 7396 w 9933"/>
                  <a:gd name="connsiteY17" fmla="*/ 6633 h 9898"/>
                  <a:gd name="connsiteX18" fmla="*/ 7396 w 9933"/>
                  <a:gd name="connsiteY18" fmla="*/ 6276 h 9898"/>
                  <a:gd name="connsiteX19" fmla="*/ 7769 w 9933"/>
                  <a:gd name="connsiteY19" fmla="*/ 6276 h 9898"/>
                  <a:gd name="connsiteX20" fmla="*/ 7993 w 9933"/>
                  <a:gd name="connsiteY20" fmla="*/ 5612 h 9898"/>
                  <a:gd name="connsiteX21" fmla="*/ 8590 w 9933"/>
                  <a:gd name="connsiteY21" fmla="*/ 5204 h 9898"/>
                  <a:gd name="connsiteX22" fmla="*/ 8814 w 9933"/>
                  <a:gd name="connsiteY22" fmla="*/ 4439 h 9898"/>
                  <a:gd name="connsiteX23" fmla="*/ 8664 w 9933"/>
                  <a:gd name="connsiteY23" fmla="*/ 4031 h 9898"/>
                  <a:gd name="connsiteX24" fmla="*/ 9037 w 9933"/>
                  <a:gd name="connsiteY24" fmla="*/ 3163 h 9898"/>
                  <a:gd name="connsiteX25" fmla="*/ 9336 w 9933"/>
                  <a:gd name="connsiteY25" fmla="*/ 2908 h 9898"/>
                  <a:gd name="connsiteX26" fmla="*/ 9933 w 9933"/>
                  <a:gd name="connsiteY26" fmla="*/ 2500 h 9898"/>
                  <a:gd name="connsiteX27" fmla="*/ 9709 w 9933"/>
                  <a:gd name="connsiteY27" fmla="*/ 2449 h 9898"/>
                  <a:gd name="connsiteX28" fmla="*/ 9336 w 9933"/>
                  <a:gd name="connsiteY28" fmla="*/ 2194 h 9898"/>
                  <a:gd name="connsiteX29" fmla="*/ 9112 w 9933"/>
                  <a:gd name="connsiteY29" fmla="*/ 1429 h 9898"/>
                  <a:gd name="connsiteX30" fmla="*/ 9112 w 9933"/>
                  <a:gd name="connsiteY30" fmla="*/ 1020 h 9898"/>
                  <a:gd name="connsiteX31" fmla="*/ 9037 w 9933"/>
                  <a:gd name="connsiteY31" fmla="*/ 510 h 9898"/>
                  <a:gd name="connsiteX32" fmla="*/ 8814 w 9933"/>
                  <a:gd name="connsiteY32" fmla="*/ 357 h 9898"/>
                  <a:gd name="connsiteX33" fmla="*/ 8440 w 9933"/>
                  <a:gd name="connsiteY33" fmla="*/ 153 h 9898"/>
                  <a:gd name="connsiteX34" fmla="*/ 8217 w 9933"/>
                  <a:gd name="connsiteY34" fmla="*/ 0 h 9898"/>
                  <a:gd name="connsiteX35" fmla="*/ 7769 w 9933"/>
                  <a:gd name="connsiteY35" fmla="*/ 204 h 9898"/>
                  <a:gd name="connsiteX36" fmla="*/ 7321 w 9933"/>
                  <a:gd name="connsiteY36" fmla="*/ 510 h 9898"/>
                  <a:gd name="connsiteX37" fmla="*/ 6724 w 9933"/>
                  <a:gd name="connsiteY37" fmla="*/ 510 h 9898"/>
                  <a:gd name="connsiteX38" fmla="*/ 5679 w 9933"/>
                  <a:gd name="connsiteY38" fmla="*/ 510 h 9898"/>
                  <a:gd name="connsiteX39" fmla="*/ 5679 w 9933"/>
                  <a:gd name="connsiteY39" fmla="*/ 459 h 9898"/>
                  <a:gd name="connsiteX40" fmla="*/ 5605 w 9933"/>
                  <a:gd name="connsiteY40" fmla="*/ 510 h 9898"/>
                  <a:gd name="connsiteX41" fmla="*/ 1948 w 9933"/>
                  <a:gd name="connsiteY41" fmla="*/ 510 h 9898"/>
                  <a:gd name="connsiteX42" fmla="*/ 1948 w 9933"/>
                  <a:gd name="connsiteY42" fmla="*/ 1582 h 9898"/>
                  <a:gd name="connsiteX43" fmla="*/ 1276 w 9933"/>
                  <a:gd name="connsiteY43" fmla="*/ 1582 h 9898"/>
                  <a:gd name="connsiteX44" fmla="*/ 1276 w 9933"/>
                  <a:gd name="connsiteY44" fmla="*/ 1786 h 9898"/>
                  <a:gd name="connsiteX45" fmla="*/ 1276 w 9933"/>
                  <a:gd name="connsiteY45" fmla="*/ 3622 h 9898"/>
                  <a:gd name="connsiteX46" fmla="*/ 1127 w 9933"/>
                  <a:gd name="connsiteY46" fmla="*/ 3724 h 9898"/>
                  <a:gd name="connsiteX47" fmla="*/ 679 w 9933"/>
                  <a:gd name="connsiteY47" fmla="*/ 3929 h 9898"/>
                  <a:gd name="connsiteX48" fmla="*/ 605 w 9933"/>
                  <a:gd name="connsiteY48" fmla="*/ 4184 h 9898"/>
                  <a:gd name="connsiteX49" fmla="*/ 381 w 9933"/>
                  <a:gd name="connsiteY49" fmla="*/ 4439 h 9898"/>
                  <a:gd name="connsiteX50" fmla="*/ 232 w 9933"/>
                  <a:gd name="connsiteY50" fmla="*/ 4847 h 9898"/>
                  <a:gd name="connsiteX51" fmla="*/ 8 w 9933"/>
                  <a:gd name="connsiteY51" fmla="*/ 5306 h 9898"/>
                  <a:gd name="connsiteX52" fmla="*/ 381 w 9933"/>
                  <a:gd name="connsiteY52" fmla="*/ 5357 h 9898"/>
                  <a:gd name="connsiteX53" fmla="*/ 455 w 9933"/>
                  <a:gd name="connsiteY53" fmla="*/ 5765 h 9898"/>
                  <a:gd name="connsiteX54" fmla="*/ 679 w 9933"/>
                  <a:gd name="connsiteY54" fmla="*/ 6173 h 9898"/>
                  <a:gd name="connsiteX55" fmla="*/ 1052 w 9933"/>
                  <a:gd name="connsiteY55" fmla="*/ 6990 h 9898"/>
                  <a:gd name="connsiteX56" fmla="*/ 1351 w 9933"/>
                  <a:gd name="connsiteY56" fmla="*/ 7347 h 9898"/>
                  <a:gd name="connsiteX57" fmla="*/ 1948 w 9933"/>
                  <a:gd name="connsiteY57" fmla="*/ 7602 h 9898"/>
                  <a:gd name="connsiteX58" fmla="*/ 2321 w 9933"/>
                  <a:gd name="connsiteY58" fmla="*/ 8010 h 9898"/>
                  <a:gd name="connsiteX59" fmla="*/ 2769 w 9933"/>
                  <a:gd name="connsiteY59" fmla="*/ 8418 h 9898"/>
                  <a:gd name="connsiteX60" fmla="*/ 3067 w 9933"/>
                  <a:gd name="connsiteY60" fmla="*/ 8724 h 9898"/>
                  <a:gd name="connsiteX61" fmla="*/ 3440 w 9933"/>
                  <a:gd name="connsiteY61" fmla="*/ 9133 h 9898"/>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1961 w 10000"/>
                  <a:gd name="connsiteY56" fmla="*/ 7680 h 10000"/>
                  <a:gd name="connsiteX57" fmla="*/ 2337 w 10000"/>
                  <a:gd name="connsiteY57" fmla="*/ 8093 h 10000"/>
                  <a:gd name="connsiteX58" fmla="*/ 2788 w 10000"/>
                  <a:gd name="connsiteY58" fmla="*/ 8505 h 10000"/>
                  <a:gd name="connsiteX59" fmla="*/ 3088 w 10000"/>
                  <a:gd name="connsiteY59" fmla="*/ 8814 h 10000"/>
                  <a:gd name="connsiteX60" fmla="*/ 3463 w 10000"/>
                  <a:gd name="connsiteY60"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2788 w 10000"/>
                  <a:gd name="connsiteY57" fmla="*/ 8505 h 10000"/>
                  <a:gd name="connsiteX58" fmla="*/ 3088 w 10000"/>
                  <a:gd name="connsiteY58" fmla="*/ 8814 h 10000"/>
                  <a:gd name="connsiteX59" fmla="*/ 3463 w 10000"/>
                  <a:gd name="connsiteY59"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2337 w 10000"/>
                  <a:gd name="connsiteY56" fmla="*/ 8093 h 10000"/>
                  <a:gd name="connsiteX57" fmla="*/ 3088 w 10000"/>
                  <a:gd name="connsiteY57" fmla="*/ 8814 h 10000"/>
                  <a:gd name="connsiteX58" fmla="*/ 3463 w 10000"/>
                  <a:gd name="connsiteY58"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088 w 10000"/>
                  <a:gd name="connsiteY56" fmla="*/ 8814 h 10000"/>
                  <a:gd name="connsiteX57" fmla="*/ 3463 w 10000"/>
                  <a:gd name="connsiteY57"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56" fmla="*/ 3463 w 10000"/>
                  <a:gd name="connsiteY56" fmla="*/ 9227 h 10000"/>
                  <a:gd name="connsiteX0" fmla="*/ 3463 w 10000"/>
                  <a:gd name="connsiteY0" fmla="*/ 9227 h 10000"/>
                  <a:gd name="connsiteX1" fmla="*/ 4064 w 10000"/>
                  <a:gd name="connsiteY1" fmla="*/ 9536 h 10000"/>
                  <a:gd name="connsiteX2" fmla="*/ 4515 w 10000"/>
                  <a:gd name="connsiteY2" fmla="*/ 9433 h 10000"/>
                  <a:gd name="connsiteX3" fmla="*/ 5417 w 10000"/>
                  <a:gd name="connsiteY3" fmla="*/ 10000 h 10000"/>
                  <a:gd name="connsiteX4" fmla="*/ 5868 w 10000"/>
                  <a:gd name="connsiteY4" fmla="*/ 9845 h 10000"/>
                  <a:gd name="connsiteX5" fmla="*/ 6093 w 10000"/>
                  <a:gd name="connsiteY5" fmla="*/ 9948 h 10000"/>
                  <a:gd name="connsiteX6" fmla="*/ 6769 w 10000"/>
                  <a:gd name="connsiteY6" fmla="*/ 9742 h 10000"/>
                  <a:gd name="connsiteX7" fmla="*/ 6919 w 10000"/>
                  <a:gd name="connsiteY7" fmla="*/ 9845 h 10000"/>
                  <a:gd name="connsiteX8" fmla="*/ 7220 w 10000"/>
                  <a:gd name="connsiteY8" fmla="*/ 9588 h 10000"/>
                  <a:gd name="connsiteX9" fmla="*/ 7671 w 10000"/>
                  <a:gd name="connsiteY9" fmla="*/ 9279 h 10000"/>
                  <a:gd name="connsiteX10" fmla="*/ 8197 w 10000"/>
                  <a:gd name="connsiteY10" fmla="*/ 9279 h 10000"/>
                  <a:gd name="connsiteX11" fmla="*/ 8422 w 10000"/>
                  <a:gd name="connsiteY11" fmla="*/ 9433 h 10000"/>
                  <a:gd name="connsiteX12" fmla="*/ 8272 w 10000"/>
                  <a:gd name="connsiteY12" fmla="*/ 9021 h 10000"/>
                  <a:gd name="connsiteX13" fmla="*/ 7821 w 10000"/>
                  <a:gd name="connsiteY13" fmla="*/ 8556 h 10000"/>
                  <a:gd name="connsiteX14" fmla="*/ 7370 w 10000"/>
                  <a:gd name="connsiteY14" fmla="*/ 8093 h 10000"/>
                  <a:gd name="connsiteX15" fmla="*/ 6769 w 10000"/>
                  <a:gd name="connsiteY15" fmla="*/ 7680 h 10000"/>
                  <a:gd name="connsiteX16" fmla="*/ 7145 w 10000"/>
                  <a:gd name="connsiteY16" fmla="*/ 7526 h 10000"/>
                  <a:gd name="connsiteX17" fmla="*/ 7446 w 10000"/>
                  <a:gd name="connsiteY17" fmla="*/ 6701 h 10000"/>
                  <a:gd name="connsiteX18" fmla="*/ 7446 w 10000"/>
                  <a:gd name="connsiteY18" fmla="*/ 6341 h 10000"/>
                  <a:gd name="connsiteX19" fmla="*/ 7821 w 10000"/>
                  <a:gd name="connsiteY19" fmla="*/ 6341 h 10000"/>
                  <a:gd name="connsiteX20" fmla="*/ 8047 w 10000"/>
                  <a:gd name="connsiteY20" fmla="*/ 5670 h 10000"/>
                  <a:gd name="connsiteX21" fmla="*/ 8648 w 10000"/>
                  <a:gd name="connsiteY21" fmla="*/ 5258 h 10000"/>
                  <a:gd name="connsiteX22" fmla="*/ 8873 w 10000"/>
                  <a:gd name="connsiteY22" fmla="*/ 4485 h 10000"/>
                  <a:gd name="connsiteX23" fmla="*/ 8722 w 10000"/>
                  <a:gd name="connsiteY23" fmla="*/ 4073 h 10000"/>
                  <a:gd name="connsiteX24" fmla="*/ 9098 w 10000"/>
                  <a:gd name="connsiteY24" fmla="*/ 3196 h 10000"/>
                  <a:gd name="connsiteX25" fmla="*/ 9399 w 10000"/>
                  <a:gd name="connsiteY25" fmla="*/ 2938 h 10000"/>
                  <a:gd name="connsiteX26" fmla="*/ 10000 w 10000"/>
                  <a:gd name="connsiteY26" fmla="*/ 2526 h 10000"/>
                  <a:gd name="connsiteX27" fmla="*/ 9774 w 10000"/>
                  <a:gd name="connsiteY27" fmla="*/ 2474 h 10000"/>
                  <a:gd name="connsiteX28" fmla="*/ 9399 w 10000"/>
                  <a:gd name="connsiteY28" fmla="*/ 2217 h 10000"/>
                  <a:gd name="connsiteX29" fmla="*/ 9173 w 10000"/>
                  <a:gd name="connsiteY29" fmla="*/ 1444 h 10000"/>
                  <a:gd name="connsiteX30" fmla="*/ 9173 w 10000"/>
                  <a:gd name="connsiteY30" fmla="*/ 1031 h 10000"/>
                  <a:gd name="connsiteX31" fmla="*/ 9098 w 10000"/>
                  <a:gd name="connsiteY31" fmla="*/ 515 h 10000"/>
                  <a:gd name="connsiteX32" fmla="*/ 8873 w 10000"/>
                  <a:gd name="connsiteY32" fmla="*/ 361 h 10000"/>
                  <a:gd name="connsiteX33" fmla="*/ 8497 w 10000"/>
                  <a:gd name="connsiteY33" fmla="*/ 155 h 10000"/>
                  <a:gd name="connsiteX34" fmla="*/ 8272 w 10000"/>
                  <a:gd name="connsiteY34" fmla="*/ 0 h 10000"/>
                  <a:gd name="connsiteX35" fmla="*/ 7821 w 10000"/>
                  <a:gd name="connsiteY35" fmla="*/ 206 h 10000"/>
                  <a:gd name="connsiteX36" fmla="*/ 7370 w 10000"/>
                  <a:gd name="connsiteY36" fmla="*/ 515 h 10000"/>
                  <a:gd name="connsiteX37" fmla="*/ 6769 w 10000"/>
                  <a:gd name="connsiteY37" fmla="*/ 515 h 10000"/>
                  <a:gd name="connsiteX38" fmla="*/ 5717 w 10000"/>
                  <a:gd name="connsiteY38" fmla="*/ 515 h 10000"/>
                  <a:gd name="connsiteX39" fmla="*/ 5717 w 10000"/>
                  <a:gd name="connsiteY39" fmla="*/ 464 h 10000"/>
                  <a:gd name="connsiteX40" fmla="*/ 5643 w 10000"/>
                  <a:gd name="connsiteY40" fmla="*/ 515 h 10000"/>
                  <a:gd name="connsiteX41" fmla="*/ 1961 w 10000"/>
                  <a:gd name="connsiteY41" fmla="*/ 515 h 10000"/>
                  <a:gd name="connsiteX42" fmla="*/ 1961 w 10000"/>
                  <a:gd name="connsiteY42" fmla="*/ 1598 h 10000"/>
                  <a:gd name="connsiteX43" fmla="*/ 1285 w 10000"/>
                  <a:gd name="connsiteY43" fmla="*/ 1598 h 10000"/>
                  <a:gd name="connsiteX44" fmla="*/ 1285 w 10000"/>
                  <a:gd name="connsiteY44" fmla="*/ 1804 h 10000"/>
                  <a:gd name="connsiteX45" fmla="*/ 1285 w 10000"/>
                  <a:gd name="connsiteY45" fmla="*/ 3659 h 10000"/>
                  <a:gd name="connsiteX46" fmla="*/ 1135 w 10000"/>
                  <a:gd name="connsiteY46" fmla="*/ 3762 h 10000"/>
                  <a:gd name="connsiteX47" fmla="*/ 684 w 10000"/>
                  <a:gd name="connsiteY47" fmla="*/ 3969 h 10000"/>
                  <a:gd name="connsiteX48" fmla="*/ 609 w 10000"/>
                  <a:gd name="connsiteY48" fmla="*/ 4227 h 10000"/>
                  <a:gd name="connsiteX49" fmla="*/ 384 w 10000"/>
                  <a:gd name="connsiteY49" fmla="*/ 4485 h 10000"/>
                  <a:gd name="connsiteX50" fmla="*/ 234 w 10000"/>
                  <a:gd name="connsiteY50" fmla="*/ 4897 h 10000"/>
                  <a:gd name="connsiteX51" fmla="*/ 8 w 10000"/>
                  <a:gd name="connsiteY51" fmla="*/ 5361 h 10000"/>
                  <a:gd name="connsiteX52" fmla="*/ 384 w 10000"/>
                  <a:gd name="connsiteY52" fmla="*/ 5412 h 10000"/>
                  <a:gd name="connsiteX53" fmla="*/ 458 w 10000"/>
                  <a:gd name="connsiteY53" fmla="*/ 5824 h 10000"/>
                  <a:gd name="connsiteX54" fmla="*/ 684 w 10000"/>
                  <a:gd name="connsiteY54" fmla="*/ 6237 h 10000"/>
                  <a:gd name="connsiteX55" fmla="*/ 1059 w 10000"/>
                  <a:gd name="connsiteY55" fmla="*/ 7062 h 10000"/>
                  <a:gd name="connsiteX0" fmla="*/ 4064 w 10000"/>
                  <a:gd name="connsiteY0" fmla="*/ 9536 h 10000"/>
                  <a:gd name="connsiteX1" fmla="*/ 4515 w 10000"/>
                  <a:gd name="connsiteY1" fmla="*/ 9433 h 10000"/>
                  <a:gd name="connsiteX2" fmla="*/ 5417 w 10000"/>
                  <a:gd name="connsiteY2" fmla="*/ 10000 h 10000"/>
                  <a:gd name="connsiteX3" fmla="*/ 5868 w 10000"/>
                  <a:gd name="connsiteY3" fmla="*/ 9845 h 10000"/>
                  <a:gd name="connsiteX4" fmla="*/ 6093 w 10000"/>
                  <a:gd name="connsiteY4" fmla="*/ 9948 h 10000"/>
                  <a:gd name="connsiteX5" fmla="*/ 6769 w 10000"/>
                  <a:gd name="connsiteY5" fmla="*/ 9742 h 10000"/>
                  <a:gd name="connsiteX6" fmla="*/ 6919 w 10000"/>
                  <a:gd name="connsiteY6" fmla="*/ 9845 h 10000"/>
                  <a:gd name="connsiteX7" fmla="*/ 7220 w 10000"/>
                  <a:gd name="connsiteY7" fmla="*/ 9588 h 10000"/>
                  <a:gd name="connsiteX8" fmla="*/ 7671 w 10000"/>
                  <a:gd name="connsiteY8" fmla="*/ 9279 h 10000"/>
                  <a:gd name="connsiteX9" fmla="*/ 8197 w 10000"/>
                  <a:gd name="connsiteY9" fmla="*/ 9279 h 10000"/>
                  <a:gd name="connsiteX10" fmla="*/ 8422 w 10000"/>
                  <a:gd name="connsiteY10" fmla="*/ 9433 h 10000"/>
                  <a:gd name="connsiteX11" fmla="*/ 8272 w 10000"/>
                  <a:gd name="connsiteY11" fmla="*/ 9021 h 10000"/>
                  <a:gd name="connsiteX12" fmla="*/ 7821 w 10000"/>
                  <a:gd name="connsiteY12" fmla="*/ 8556 h 10000"/>
                  <a:gd name="connsiteX13" fmla="*/ 7370 w 10000"/>
                  <a:gd name="connsiteY13" fmla="*/ 8093 h 10000"/>
                  <a:gd name="connsiteX14" fmla="*/ 6769 w 10000"/>
                  <a:gd name="connsiteY14" fmla="*/ 7680 h 10000"/>
                  <a:gd name="connsiteX15" fmla="*/ 7145 w 10000"/>
                  <a:gd name="connsiteY15" fmla="*/ 7526 h 10000"/>
                  <a:gd name="connsiteX16" fmla="*/ 7446 w 10000"/>
                  <a:gd name="connsiteY16" fmla="*/ 6701 h 10000"/>
                  <a:gd name="connsiteX17" fmla="*/ 7446 w 10000"/>
                  <a:gd name="connsiteY17" fmla="*/ 6341 h 10000"/>
                  <a:gd name="connsiteX18" fmla="*/ 7821 w 10000"/>
                  <a:gd name="connsiteY18" fmla="*/ 6341 h 10000"/>
                  <a:gd name="connsiteX19" fmla="*/ 8047 w 10000"/>
                  <a:gd name="connsiteY19" fmla="*/ 5670 h 10000"/>
                  <a:gd name="connsiteX20" fmla="*/ 8648 w 10000"/>
                  <a:gd name="connsiteY20" fmla="*/ 5258 h 10000"/>
                  <a:gd name="connsiteX21" fmla="*/ 8873 w 10000"/>
                  <a:gd name="connsiteY21" fmla="*/ 4485 h 10000"/>
                  <a:gd name="connsiteX22" fmla="*/ 8722 w 10000"/>
                  <a:gd name="connsiteY22" fmla="*/ 4073 h 10000"/>
                  <a:gd name="connsiteX23" fmla="*/ 9098 w 10000"/>
                  <a:gd name="connsiteY23" fmla="*/ 3196 h 10000"/>
                  <a:gd name="connsiteX24" fmla="*/ 9399 w 10000"/>
                  <a:gd name="connsiteY24" fmla="*/ 2938 h 10000"/>
                  <a:gd name="connsiteX25" fmla="*/ 10000 w 10000"/>
                  <a:gd name="connsiteY25" fmla="*/ 2526 h 10000"/>
                  <a:gd name="connsiteX26" fmla="*/ 9774 w 10000"/>
                  <a:gd name="connsiteY26" fmla="*/ 2474 h 10000"/>
                  <a:gd name="connsiteX27" fmla="*/ 9399 w 10000"/>
                  <a:gd name="connsiteY27" fmla="*/ 2217 h 10000"/>
                  <a:gd name="connsiteX28" fmla="*/ 9173 w 10000"/>
                  <a:gd name="connsiteY28" fmla="*/ 1444 h 10000"/>
                  <a:gd name="connsiteX29" fmla="*/ 9173 w 10000"/>
                  <a:gd name="connsiteY29" fmla="*/ 1031 h 10000"/>
                  <a:gd name="connsiteX30" fmla="*/ 9098 w 10000"/>
                  <a:gd name="connsiteY30" fmla="*/ 515 h 10000"/>
                  <a:gd name="connsiteX31" fmla="*/ 8873 w 10000"/>
                  <a:gd name="connsiteY31" fmla="*/ 361 h 10000"/>
                  <a:gd name="connsiteX32" fmla="*/ 8497 w 10000"/>
                  <a:gd name="connsiteY32" fmla="*/ 155 h 10000"/>
                  <a:gd name="connsiteX33" fmla="*/ 8272 w 10000"/>
                  <a:gd name="connsiteY33" fmla="*/ 0 h 10000"/>
                  <a:gd name="connsiteX34" fmla="*/ 7821 w 10000"/>
                  <a:gd name="connsiteY34" fmla="*/ 206 h 10000"/>
                  <a:gd name="connsiteX35" fmla="*/ 7370 w 10000"/>
                  <a:gd name="connsiteY35" fmla="*/ 515 h 10000"/>
                  <a:gd name="connsiteX36" fmla="*/ 6769 w 10000"/>
                  <a:gd name="connsiteY36" fmla="*/ 515 h 10000"/>
                  <a:gd name="connsiteX37" fmla="*/ 5717 w 10000"/>
                  <a:gd name="connsiteY37" fmla="*/ 515 h 10000"/>
                  <a:gd name="connsiteX38" fmla="*/ 5717 w 10000"/>
                  <a:gd name="connsiteY38" fmla="*/ 464 h 10000"/>
                  <a:gd name="connsiteX39" fmla="*/ 5643 w 10000"/>
                  <a:gd name="connsiteY39" fmla="*/ 515 h 10000"/>
                  <a:gd name="connsiteX40" fmla="*/ 1961 w 10000"/>
                  <a:gd name="connsiteY40" fmla="*/ 515 h 10000"/>
                  <a:gd name="connsiteX41" fmla="*/ 1961 w 10000"/>
                  <a:gd name="connsiteY41" fmla="*/ 1598 h 10000"/>
                  <a:gd name="connsiteX42" fmla="*/ 1285 w 10000"/>
                  <a:gd name="connsiteY42" fmla="*/ 1598 h 10000"/>
                  <a:gd name="connsiteX43" fmla="*/ 1285 w 10000"/>
                  <a:gd name="connsiteY43" fmla="*/ 1804 h 10000"/>
                  <a:gd name="connsiteX44" fmla="*/ 1285 w 10000"/>
                  <a:gd name="connsiteY44" fmla="*/ 3659 h 10000"/>
                  <a:gd name="connsiteX45" fmla="*/ 1135 w 10000"/>
                  <a:gd name="connsiteY45" fmla="*/ 3762 h 10000"/>
                  <a:gd name="connsiteX46" fmla="*/ 684 w 10000"/>
                  <a:gd name="connsiteY46" fmla="*/ 3969 h 10000"/>
                  <a:gd name="connsiteX47" fmla="*/ 609 w 10000"/>
                  <a:gd name="connsiteY47" fmla="*/ 4227 h 10000"/>
                  <a:gd name="connsiteX48" fmla="*/ 384 w 10000"/>
                  <a:gd name="connsiteY48" fmla="*/ 4485 h 10000"/>
                  <a:gd name="connsiteX49" fmla="*/ 234 w 10000"/>
                  <a:gd name="connsiteY49" fmla="*/ 4897 h 10000"/>
                  <a:gd name="connsiteX50" fmla="*/ 8 w 10000"/>
                  <a:gd name="connsiteY50" fmla="*/ 5361 h 10000"/>
                  <a:gd name="connsiteX51" fmla="*/ 384 w 10000"/>
                  <a:gd name="connsiteY51" fmla="*/ 5412 h 10000"/>
                  <a:gd name="connsiteX52" fmla="*/ 458 w 10000"/>
                  <a:gd name="connsiteY52" fmla="*/ 5824 h 10000"/>
                  <a:gd name="connsiteX53" fmla="*/ 684 w 10000"/>
                  <a:gd name="connsiteY53" fmla="*/ 6237 h 10000"/>
                  <a:gd name="connsiteX54" fmla="*/ 1059 w 10000"/>
                  <a:gd name="connsiteY54" fmla="*/ 7062 h 10000"/>
                  <a:gd name="connsiteX0" fmla="*/ 4515 w 10000"/>
                  <a:gd name="connsiteY0" fmla="*/ 9433 h 10000"/>
                  <a:gd name="connsiteX1" fmla="*/ 5417 w 10000"/>
                  <a:gd name="connsiteY1" fmla="*/ 10000 h 10000"/>
                  <a:gd name="connsiteX2" fmla="*/ 5868 w 10000"/>
                  <a:gd name="connsiteY2" fmla="*/ 9845 h 10000"/>
                  <a:gd name="connsiteX3" fmla="*/ 6093 w 10000"/>
                  <a:gd name="connsiteY3" fmla="*/ 9948 h 10000"/>
                  <a:gd name="connsiteX4" fmla="*/ 6769 w 10000"/>
                  <a:gd name="connsiteY4" fmla="*/ 9742 h 10000"/>
                  <a:gd name="connsiteX5" fmla="*/ 6919 w 10000"/>
                  <a:gd name="connsiteY5" fmla="*/ 9845 h 10000"/>
                  <a:gd name="connsiteX6" fmla="*/ 7220 w 10000"/>
                  <a:gd name="connsiteY6" fmla="*/ 9588 h 10000"/>
                  <a:gd name="connsiteX7" fmla="*/ 7671 w 10000"/>
                  <a:gd name="connsiteY7" fmla="*/ 9279 h 10000"/>
                  <a:gd name="connsiteX8" fmla="*/ 8197 w 10000"/>
                  <a:gd name="connsiteY8" fmla="*/ 9279 h 10000"/>
                  <a:gd name="connsiteX9" fmla="*/ 8422 w 10000"/>
                  <a:gd name="connsiteY9" fmla="*/ 9433 h 10000"/>
                  <a:gd name="connsiteX10" fmla="*/ 8272 w 10000"/>
                  <a:gd name="connsiteY10" fmla="*/ 9021 h 10000"/>
                  <a:gd name="connsiteX11" fmla="*/ 7821 w 10000"/>
                  <a:gd name="connsiteY11" fmla="*/ 8556 h 10000"/>
                  <a:gd name="connsiteX12" fmla="*/ 7370 w 10000"/>
                  <a:gd name="connsiteY12" fmla="*/ 8093 h 10000"/>
                  <a:gd name="connsiteX13" fmla="*/ 6769 w 10000"/>
                  <a:gd name="connsiteY13" fmla="*/ 7680 h 10000"/>
                  <a:gd name="connsiteX14" fmla="*/ 7145 w 10000"/>
                  <a:gd name="connsiteY14" fmla="*/ 7526 h 10000"/>
                  <a:gd name="connsiteX15" fmla="*/ 7446 w 10000"/>
                  <a:gd name="connsiteY15" fmla="*/ 6701 h 10000"/>
                  <a:gd name="connsiteX16" fmla="*/ 7446 w 10000"/>
                  <a:gd name="connsiteY16" fmla="*/ 6341 h 10000"/>
                  <a:gd name="connsiteX17" fmla="*/ 7821 w 10000"/>
                  <a:gd name="connsiteY17" fmla="*/ 6341 h 10000"/>
                  <a:gd name="connsiteX18" fmla="*/ 8047 w 10000"/>
                  <a:gd name="connsiteY18" fmla="*/ 5670 h 10000"/>
                  <a:gd name="connsiteX19" fmla="*/ 8648 w 10000"/>
                  <a:gd name="connsiteY19" fmla="*/ 5258 h 10000"/>
                  <a:gd name="connsiteX20" fmla="*/ 8873 w 10000"/>
                  <a:gd name="connsiteY20" fmla="*/ 4485 h 10000"/>
                  <a:gd name="connsiteX21" fmla="*/ 8722 w 10000"/>
                  <a:gd name="connsiteY21" fmla="*/ 4073 h 10000"/>
                  <a:gd name="connsiteX22" fmla="*/ 9098 w 10000"/>
                  <a:gd name="connsiteY22" fmla="*/ 3196 h 10000"/>
                  <a:gd name="connsiteX23" fmla="*/ 9399 w 10000"/>
                  <a:gd name="connsiteY23" fmla="*/ 2938 h 10000"/>
                  <a:gd name="connsiteX24" fmla="*/ 10000 w 10000"/>
                  <a:gd name="connsiteY24" fmla="*/ 2526 h 10000"/>
                  <a:gd name="connsiteX25" fmla="*/ 9774 w 10000"/>
                  <a:gd name="connsiteY25" fmla="*/ 2474 h 10000"/>
                  <a:gd name="connsiteX26" fmla="*/ 9399 w 10000"/>
                  <a:gd name="connsiteY26" fmla="*/ 2217 h 10000"/>
                  <a:gd name="connsiteX27" fmla="*/ 9173 w 10000"/>
                  <a:gd name="connsiteY27" fmla="*/ 1444 h 10000"/>
                  <a:gd name="connsiteX28" fmla="*/ 9173 w 10000"/>
                  <a:gd name="connsiteY28" fmla="*/ 1031 h 10000"/>
                  <a:gd name="connsiteX29" fmla="*/ 9098 w 10000"/>
                  <a:gd name="connsiteY29" fmla="*/ 515 h 10000"/>
                  <a:gd name="connsiteX30" fmla="*/ 8873 w 10000"/>
                  <a:gd name="connsiteY30" fmla="*/ 361 h 10000"/>
                  <a:gd name="connsiteX31" fmla="*/ 8497 w 10000"/>
                  <a:gd name="connsiteY31" fmla="*/ 155 h 10000"/>
                  <a:gd name="connsiteX32" fmla="*/ 8272 w 10000"/>
                  <a:gd name="connsiteY32" fmla="*/ 0 h 10000"/>
                  <a:gd name="connsiteX33" fmla="*/ 7821 w 10000"/>
                  <a:gd name="connsiteY33" fmla="*/ 206 h 10000"/>
                  <a:gd name="connsiteX34" fmla="*/ 7370 w 10000"/>
                  <a:gd name="connsiteY34" fmla="*/ 515 h 10000"/>
                  <a:gd name="connsiteX35" fmla="*/ 6769 w 10000"/>
                  <a:gd name="connsiteY35" fmla="*/ 515 h 10000"/>
                  <a:gd name="connsiteX36" fmla="*/ 5717 w 10000"/>
                  <a:gd name="connsiteY36" fmla="*/ 515 h 10000"/>
                  <a:gd name="connsiteX37" fmla="*/ 5717 w 10000"/>
                  <a:gd name="connsiteY37" fmla="*/ 464 h 10000"/>
                  <a:gd name="connsiteX38" fmla="*/ 5643 w 10000"/>
                  <a:gd name="connsiteY38" fmla="*/ 515 h 10000"/>
                  <a:gd name="connsiteX39" fmla="*/ 1961 w 10000"/>
                  <a:gd name="connsiteY39" fmla="*/ 515 h 10000"/>
                  <a:gd name="connsiteX40" fmla="*/ 1961 w 10000"/>
                  <a:gd name="connsiteY40" fmla="*/ 1598 h 10000"/>
                  <a:gd name="connsiteX41" fmla="*/ 1285 w 10000"/>
                  <a:gd name="connsiteY41" fmla="*/ 1598 h 10000"/>
                  <a:gd name="connsiteX42" fmla="*/ 1285 w 10000"/>
                  <a:gd name="connsiteY42" fmla="*/ 1804 h 10000"/>
                  <a:gd name="connsiteX43" fmla="*/ 1285 w 10000"/>
                  <a:gd name="connsiteY43" fmla="*/ 3659 h 10000"/>
                  <a:gd name="connsiteX44" fmla="*/ 1135 w 10000"/>
                  <a:gd name="connsiteY44" fmla="*/ 3762 h 10000"/>
                  <a:gd name="connsiteX45" fmla="*/ 684 w 10000"/>
                  <a:gd name="connsiteY45" fmla="*/ 3969 h 10000"/>
                  <a:gd name="connsiteX46" fmla="*/ 609 w 10000"/>
                  <a:gd name="connsiteY46" fmla="*/ 4227 h 10000"/>
                  <a:gd name="connsiteX47" fmla="*/ 384 w 10000"/>
                  <a:gd name="connsiteY47" fmla="*/ 4485 h 10000"/>
                  <a:gd name="connsiteX48" fmla="*/ 234 w 10000"/>
                  <a:gd name="connsiteY48" fmla="*/ 4897 h 10000"/>
                  <a:gd name="connsiteX49" fmla="*/ 8 w 10000"/>
                  <a:gd name="connsiteY49" fmla="*/ 5361 h 10000"/>
                  <a:gd name="connsiteX50" fmla="*/ 384 w 10000"/>
                  <a:gd name="connsiteY50" fmla="*/ 5412 h 10000"/>
                  <a:gd name="connsiteX51" fmla="*/ 458 w 10000"/>
                  <a:gd name="connsiteY51" fmla="*/ 5824 h 10000"/>
                  <a:gd name="connsiteX52" fmla="*/ 684 w 10000"/>
                  <a:gd name="connsiteY52" fmla="*/ 6237 h 10000"/>
                  <a:gd name="connsiteX53" fmla="*/ 1059 w 10000"/>
                  <a:gd name="connsiteY53" fmla="*/ 7062 h 10000"/>
                  <a:gd name="connsiteX0" fmla="*/ 5417 w 10000"/>
                  <a:gd name="connsiteY0" fmla="*/ 10000 h 10000"/>
                  <a:gd name="connsiteX1" fmla="*/ 5868 w 10000"/>
                  <a:gd name="connsiteY1" fmla="*/ 9845 h 10000"/>
                  <a:gd name="connsiteX2" fmla="*/ 6093 w 10000"/>
                  <a:gd name="connsiteY2" fmla="*/ 9948 h 10000"/>
                  <a:gd name="connsiteX3" fmla="*/ 6769 w 10000"/>
                  <a:gd name="connsiteY3" fmla="*/ 9742 h 10000"/>
                  <a:gd name="connsiteX4" fmla="*/ 6919 w 10000"/>
                  <a:gd name="connsiteY4" fmla="*/ 9845 h 10000"/>
                  <a:gd name="connsiteX5" fmla="*/ 7220 w 10000"/>
                  <a:gd name="connsiteY5" fmla="*/ 9588 h 10000"/>
                  <a:gd name="connsiteX6" fmla="*/ 7671 w 10000"/>
                  <a:gd name="connsiteY6" fmla="*/ 9279 h 10000"/>
                  <a:gd name="connsiteX7" fmla="*/ 8197 w 10000"/>
                  <a:gd name="connsiteY7" fmla="*/ 9279 h 10000"/>
                  <a:gd name="connsiteX8" fmla="*/ 8422 w 10000"/>
                  <a:gd name="connsiteY8" fmla="*/ 9433 h 10000"/>
                  <a:gd name="connsiteX9" fmla="*/ 8272 w 10000"/>
                  <a:gd name="connsiteY9" fmla="*/ 9021 h 10000"/>
                  <a:gd name="connsiteX10" fmla="*/ 7821 w 10000"/>
                  <a:gd name="connsiteY10" fmla="*/ 8556 h 10000"/>
                  <a:gd name="connsiteX11" fmla="*/ 7370 w 10000"/>
                  <a:gd name="connsiteY11" fmla="*/ 8093 h 10000"/>
                  <a:gd name="connsiteX12" fmla="*/ 6769 w 10000"/>
                  <a:gd name="connsiteY12" fmla="*/ 7680 h 10000"/>
                  <a:gd name="connsiteX13" fmla="*/ 7145 w 10000"/>
                  <a:gd name="connsiteY13" fmla="*/ 7526 h 10000"/>
                  <a:gd name="connsiteX14" fmla="*/ 7446 w 10000"/>
                  <a:gd name="connsiteY14" fmla="*/ 6701 h 10000"/>
                  <a:gd name="connsiteX15" fmla="*/ 7446 w 10000"/>
                  <a:gd name="connsiteY15" fmla="*/ 6341 h 10000"/>
                  <a:gd name="connsiteX16" fmla="*/ 7821 w 10000"/>
                  <a:gd name="connsiteY16" fmla="*/ 6341 h 10000"/>
                  <a:gd name="connsiteX17" fmla="*/ 8047 w 10000"/>
                  <a:gd name="connsiteY17" fmla="*/ 5670 h 10000"/>
                  <a:gd name="connsiteX18" fmla="*/ 8648 w 10000"/>
                  <a:gd name="connsiteY18" fmla="*/ 5258 h 10000"/>
                  <a:gd name="connsiteX19" fmla="*/ 8873 w 10000"/>
                  <a:gd name="connsiteY19" fmla="*/ 4485 h 10000"/>
                  <a:gd name="connsiteX20" fmla="*/ 8722 w 10000"/>
                  <a:gd name="connsiteY20" fmla="*/ 4073 h 10000"/>
                  <a:gd name="connsiteX21" fmla="*/ 9098 w 10000"/>
                  <a:gd name="connsiteY21" fmla="*/ 3196 h 10000"/>
                  <a:gd name="connsiteX22" fmla="*/ 9399 w 10000"/>
                  <a:gd name="connsiteY22" fmla="*/ 2938 h 10000"/>
                  <a:gd name="connsiteX23" fmla="*/ 10000 w 10000"/>
                  <a:gd name="connsiteY23" fmla="*/ 2526 h 10000"/>
                  <a:gd name="connsiteX24" fmla="*/ 9774 w 10000"/>
                  <a:gd name="connsiteY24" fmla="*/ 2474 h 10000"/>
                  <a:gd name="connsiteX25" fmla="*/ 9399 w 10000"/>
                  <a:gd name="connsiteY25" fmla="*/ 2217 h 10000"/>
                  <a:gd name="connsiteX26" fmla="*/ 9173 w 10000"/>
                  <a:gd name="connsiteY26" fmla="*/ 1444 h 10000"/>
                  <a:gd name="connsiteX27" fmla="*/ 9173 w 10000"/>
                  <a:gd name="connsiteY27" fmla="*/ 1031 h 10000"/>
                  <a:gd name="connsiteX28" fmla="*/ 9098 w 10000"/>
                  <a:gd name="connsiteY28" fmla="*/ 515 h 10000"/>
                  <a:gd name="connsiteX29" fmla="*/ 8873 w 10000"/>
                  <a:gd name="connsiteY29" fmla="*/ 361 h 10000"/>
                  <a:gd name="connsiteX30" fmla="*/ 8497 w 10000"/>
                  <a:gd name="connsiteY30" fmla="*/ 155 h 10000"/>
                  <a:gd name="connsiteX31" fmla="*/ 8272 w 10000"/>
                  <a:gd name="connsiteY31" fmla="*/ 0 h 10000"/>
                  <a:gd name="connsiteX32" fmla="*/ 7821 w 10000"/>
                  <a:gd name="connsiteY32" fmla="*/ 206 h 10000"/>
                  <a:gd name="connsiteX33" fmla="*/ 7370 w 10000"/>
                  <a:gd name="connsiteY33" fmla="*/ 515 h 10000"/>
                  <a:gd name="connsiteX34" fmla="*/ 6769 w 10000"/>
                  <a:gd name="connsiteY34" fmla="*/ 515 h 10000"/>
                  <a:gd name="connsiteX35" fmla="*/ 5717 w 10000"/>
                  <a:gd name="connsiteY35" fmla="*/ 515 h 10000"/>
                  <a:gd name="connsiteX36" fmla="*/ 5717 w 10000"/>
                  <a:gd name="connsiteY36" fmla="*/ 464 h 10000"/>
                  <a:gd name="connsiteX37" fmla="*/ 5643 w 10000"/>
                  <a:gd name="connsiteY37" fmla="*/ 515 h 10000"/>
                  <a:gd name="connsiteX38" fmla="*/ 1961 w 10000"/>
                  <a:gd name="connsiteY38" fmla="*/ 515 h 10000"/>
                  <a:gd name="connsiteX39" fmla="*/ 1961 w 10000"/>
                  <a:gd name="connsiteY39" fmla="*/ 1598 h 10000"/>
                  <a:gd name="connsiteX40" fmla="*/ 1285 w 10000"/>
                  <a:gd name="connsiteY40" fmla="*/ 1598 h 10000"/>
                  <a:gd name="connsiteX41" fmla="*/ 1285 w 10000"/>
                  <a:gd name="connsiteY41" fmla="*/ 1804 h 10000"/>
                  <a:gd name="connsiteX42" fmla="*/ 1285 w 10000"/>
                  <a:gd name="connsiteY42" fmla="*/ 3659 h 10000"/>
                  <a:gd name="connsiteX43" fmla="*/ 1135 w 10000"/>
                  <a:gd name="connsiteY43" fmla="*/ 3762 h 10000"/>
                  <a:gd name="connsiteX44" fmla="*/ 684 w 10000"/>
                  <a:gd name="connsiteY44" fmla="*/ 3969 h 10000"/>
                  <a:gd name="connsiteX45" fmla="*/ 609 w 10000"/>
                  <a:gd name="connsiteY45" fmla="*/ 4227 h 10000"/>
                  <a:gd name="connsiteX46" fmla="*/ 384 w 10000"/>
                  <a:gd name="connsiteY46" fmla="*/ 4485 h 10000"/>
                  <a:gd name="connsiteX47" fmla="*/ 234 w 10000"/>
                  <a:gd name="connsiteY47" fmla="*/ 4897 h 10000"/>
                  <a:gd name="connsiteX48" fmla="*/ 8 w 10000"/>
                  <a:gd name="connsiteY48" fmla="*/ 5361 h 10000"/>
                  <a:gd name="connsiteX49" fmla="*/ 384 w 10000"/>
                  <a:gd name="connsiteY49" fmla="*/ 5412 h 10000"/>
                  <a:gd name="connsiteX50" fmla="*/ 458 w 10000"/>
                  <a:gd name="connsiteY50" fmla="*/ 5824 h 10000"/>
                  <a:gd name="connsiteX51" fmla="*/ 684 w 10000"/>
                  <a:gd name="connsiteY51" fmla="*/ 6237 h 10000"/>
                  <a:gd name="connsiteX52" fmla="*/ 1059 w 10000"/>
                  <a:gd name="connsiteY52" fmla="*/ 7062 h 10000"/>
                  <a:gd name="connsiteX0" fmla="*/ 5868 w 10000"/>
                  <a:gd name="connsiteY0" fmla="*/ 9845 h 9986"/>
                  <a:gd name="connsiteX1" fmla="*/ 6093 w 10000"/>
                  <a:gd name="connsiteY1" fmla="*/ 9948 h 9986"/>
                  <a:gd name="connsiteX2" fmla="*/ 6769 w 10000"/>
                  <a:gd name="connsiteY2" fmla="*/ 9742 h 9986"/>
                  <a:gd name="connsiteX3" fmla="*/ 6919 w 10000"/>
                  <a:gd name="connsiteY3" fmla="*/ 9845 h 9986"/>
                  <a:gd name="connsiteX4" fmla="*/ 7220 w 10000"/>
                  <a:gd name="connsiteY4" fmla="*/ 9588 h 9986"/>
                  <a:gd name="connsiteX5" fmla="*/ 7671 w 10000"/>
                  <a:gd name="connsiteY5" fmla="*/ 9279 h 9986"/>
                  <a:gd name="connsiteX6" fmla="*/ 8197 w 10000"/>
                  <a:gd name="connsiteY6" fmla="*/ 9279 h 9986"/>
                  <a:gd name="connsiteX7" fmla="*/ 8422 w 10000"/>
                  <a:gd name="connsiteY7" fmla="*/ 9433 h 9986"/>
                  <a:gd name="connsiteX8" fmla="*/ 8272 w 10000"/>
                  <a:gd name="connsiteY8" fmla="*/ 9021 h 9986"/>
                  <a:gd name="connsiteX9" fmla="*/ 7821 w 10000"/>
                  <a:gd name="connsiteY9" fmla="*/ 8556 h 9986"/>
                  <a:gd name="connsiteX10" fmla="*/ 7370 w 10000"/>
                  <a:gd name="connsiteY10" fmla="*/ 8093 h 9986"/>
                  <a:gd name="connsiteX11" fmla="*/ 6769 w 10000"/>
                  <a:gd name="connsiteY11" fmla="*/ 7680 h 9986"/>
                  <a:gd name="connsiteX12" fmla="*/ 7145 w 10000"/>
                  <a:gd name="connsiteY12" fmla="*/ 7526 h 9986"/>
                  <a:gd name="connsiteX13" fmla="*/ 7446 w 10000"/>
                  <a:gd name="connsiteY13" fmla="*/ 6701 h 9986"/>
                  <a:gd name="connsiteX14" fmla="*/ 7446 w 10000"/>
                  <a:gd name="connsiteY14" fmla="*/ 6341 h 9986"/>
                  <a:gd name="connsiteX15" fmla="*/ 7821 w 10000"/>
                  <a:gd name="connsiteY15" fmla="*/ 6341 h 9986"/>
                  <a:gd name="connsiteX16" fmla="*/ 8047 w 10000"/>
                  <a:gd name="connsiteY16" fmla="*/ 5670 h 9986"/>
                  <a:gd name="connsiteX17" fmla="*/ 8648 w 10000"/>
                  <a:gd name="connsiteY17" fmla="*/ 5258 h 9986"/>
                  <a:gd name="connsiteX18" fmla="*/ 8873 w 10000"/>
                  <a:gd name="connsiteY18" fmla="*/ 4485 h 9986"/>
                  <a:gd name="connsiteX19" fmla="*/ 8722 w 10000"/>
                  <a:gd name="connsiteY19" fmla="*/ 4073 h 9986"/>
                  <a:gd name="connsiteX20" fmla="*/ 9098 w 10000"/>
                  <a:gd name="connsiteY20" fmla="*/ 3196 h 9986"/>
                  <a:gd name="connsiteX21" fmla="*/ 9399 w 10000"/>
                  <a:gd name="connsiteY21" fmla="*/ 2938 h 9986"/>
                  <a:gd name="connsiteX22" fmla="*/ 10000 w 10000"/>
                  <a:gd name="connsiteY22" fmla="*/ 2526 h 9986"/>
                  <a:gd name="connsiteX23" fmla="*/ 9774 w 10000"/>
                  <a:gd name="connsiteY23" fmla="*/ 2474 h 9986"/>
                  <a:gd name="connsiteX24" fmla="*/ 9399 w 10000"/>
                  <a:gd name="connsiteY24" fmla="*/ 2217 h 9986"/>
                  <a:gd name="connsiteX25" fmla="*/ 9173 w 10000"/>
                  <a:gd name="connsiteY25" fmla="*/ 1444 h 9986"/>
                  <a:gd name="connsiteX26" fmla="*/ 9173 w 10000"/>
                  <a:gd name="connsiteY26" fmla="*/ 1031 h 9986"/>
                  <a:gd name="connsiteX27" fmla="*/ 9098 w 10000"/>
                  <a:gd name="connsiteY27" fmla="*/ 515 h 9986"/>
                  <a:gd name="connsiteX28" fmla="*/ 8873 w 10000"/>
                  <a:gd name="connsiteY28" fmla="*/ 361 h 9986"/>
                  <a:gd name="connsiteX29" fmla="*/ 8497 w 10000"/>
                  <a:gd name="connsiteY29" fmla="*/ 155 h 9986"/>
                  <a:gd name="connsiteX30" fmla="*/ 8272 w 10000"/>
                  <a:gd name="connsiteY30" fmla="*/ 0 h 9986"/>
                  <a:gd name="connsiteX31" fmla="*/ 7821 w 10000"/>
                  <a:gd name="connsiteY31" fmla="*/ 206 h 9986"/>
                  <a:gd name="connsiteX32" fmla="*/ 7370 w 10000"/>
                  <a:gd name="connsiteY32" fmla="*/ 515 h 9986"/>
                  <a:gd name="connsiteX33" fmla="*/ 6769 w 10000"/>
                  <a:gd name="connsiteY33" fmla="*/ 515 h 9986"/>
                  <a:gd name="connsiteX34" fmla="*/ 5717 w 10000"/>
                  <a:gd name="connsiteY34" fmla="*/ 515 h 9986"/>
                  <a:gd name="connsiteX35" fmla="*/ 5717 w 10000"/>
                  <a:gd name="connsiteY35" fmla="*/ 464 h 9986"/>
                  <a:gd name="connsiteX36" fmla="*/ 5643 w 10000"/>
                  <a:gd name="connsiteY36" fmla="*/ 515 h 9986"/>
                  <a:gd name="connsiteX37" fmla="*/ 1961 w 10000"/>
                  <a:gd name="connsiteY37" fmla="*/ 515 h 9986"/>
                  <a:gd name="connsiteX38" fmla="*/ 1961 w 10000"/>
                  <a:gd name="connsiteY38" fmla="*/ 1598 h 9986"/>
                  <a:gd name="connsiteX39" fmla="*/ 1285 w 10000"/>
                  <a:gd name="connsiteY39" fmla="*/ 1598 h 9986"/>
                  <a:gd name="connsiteX40" fmla="*/ 1285 w 10000"/>
                  <a:gd name="connsiteY40" fmla="*/ 1804 h 9986"/>
                  <a:gd name="connsiteX41" fmla="*/ 1285 w 10000"/>
                  <a:gd name="connsiteY41" fmla="*/ 3659 h 9986"/>
                  <a:gd name="connsiteX42" fmla="*/ 1135 w 10000"/>
                  <a:gd name="connsiteY42" fmla="*/ 3762 h 9986"/>
                  <a:gd name="connsiteX43" fmla="*/ 684 w 10000"/>
                  <a:gd name="connsiteY43" fmla="*/ 3969 h 9986"/>
                  <a:gd name="connsiteX44" fmla="*/ 609 w 10000"/>
                  <a:gd name="connsiteY44" fmla="*/ 4227 h 9986"/>
                  <a:gd name="connsiteX45" fmla="*/ 384 w 10000"/>
                  <a:gd name="connsiteY45" fmla="*/ 4485 h 9986"/>
                  <a:gd name="connsiteX46" fmla="*/ 234 w 10000"/>
                  <a:gd name="connsiteY46" fmla="*/ 4897 h 9986"/>
                  <a:gd name="connsiteX47" fmla="*/ 8 w 10000"/>
                  <a:gd name="connsiteY47" fmla="*/ 5361 h 9986"/>
                  <a:gd name="connsiteX48" fmla="*/ 384 w 10000"/>
                  <a:gd name="connsiteY48" fmla="*/ 5412 h 9986"/>
                  <a:gd name="connsiteX49" fmla="*/ 458 w 10000"/>
                  <a:gd name="connsiteY49" fmla="*/ 5824 h 9986"/>
                  <a:gd name="connsiteX50" fmla="*/ 684 w 10000"/>
                  <a:gd name="connsiteY50" fmla="*/ 6237 h 9986"/>
                  <a:gd name="connsiteX51" fmla="*/ 1059 w 10000"/>
                  <a:gd name="connsiteY51" fmla="*/ 7062 h 9986"/>
                  <a:gd name="connsiteX0" fmla="*/ 6093 w 10000"/>
                  <a:gd name="connsiteY0" fmla="*/ 9962 h 10000"/>
                  <a:gd name="connsiteX1" fmla="*/ 6769 w 10000"/>
                  <a:gd name="connsiteY1" fmla="*/ 9756 h 10000"/>
                  <a:gd name="connsiteX2" fmla="*/ 6919 w 10000"/>
                  <a:gd name="connsiteY2" fmla="*/ 9859 h 10000"/>
                  <a:gd name="connsiteX3" fmla="*/ 7220 w 10000"/>
                  <a:gd name="connsiteY3" fmla="*/ 9601 h 10000"/>
                  <a:gd name="connsiteX4" fmla="*/ 7671 w 10000"/>
                  <a:gd name="connsiteY4" fmla="*/ 9292 h 10000"/>
                  <a:gd name="connsiteX5" fmla="*/ 8197 w 10000"/>
                  <a:gd name="connsiteY5" fmla="*/ 9292 h 10000"/>
                  <a:gd name="connsiteX6" fmla="*/ 8422 w 10000"/>
                  <a:gd name="connsiteY6" fmla="*/ 9446 h 10000"/>
                  <a:gd name="connsiteX7" fmla="*/ 8272 w 10000"/>
                  <a:gd name="connsiteY7" fmla="*/ 9034 h 10000"/>
                  <a:gd name="connsiteX8" fmla="*/ 7821 w 10000"/>
                  <a:gd name="connsiteY8" fmla="*/ 8568 h 10000"/>
                  <a:gd name="connsiteX9" fmla="*/ 7370 w 10000"/>
                  <a:gd name="connsiteY9" fmla="*/ 8104 h 10000"/>
                  <a:gd name="connsiteX10" fmla="*/ 6769 w 10000"/>
                  <a:gd name="connsiteY10" fmla="*/ 7691 h 10000"/>
                  <a:gd name="connsiteX11" fmla="*/ 7145 w 10000"/>
                  <a:gd name="connsiteY11" fmla="*/ 7537 h 10000"/>
                  <a:gd name="connsiteX12" fmla="*/ 7446 w 10000"/>
                  <a:gd name="connsiteY12" fmla="*/ 6710 h 10000"/>
                  <a:gd name="connsiteX13" fmla="*/ 7446 w 10000"/>
                  <a:gd name="connsiteY13" fmla="*/ 6350 h 10000"/>
                  <a:gd name="connsiteX14" fmla="*/ 7821 w 10000"/>
                  <a:gd name="connsiteY14" fmla="*/ 6350 h 10000"/>
                  <a:gd name="connsiteX15" fmla="*/ 8047 w 10000"/>
                  <a:gd name="connsiteY15" fmla="*/ 5678 h 10000"/>
                  <a:gd name="connsiteX16" fmla="*/ 8648 w 10000"/>
                  <a:gd name="connsiteY16" fmla="*/ 5265 h 10000"/>
                  <a:gd name="connsiteX17" fmla="*/ 8873 w 10000"/>
                  <a:gd name="connsiteY17" fmla="*/ 4491 h 10000"/>
                  <a:gd name="connsiteX18" fmla="*/ 8722 w 10000"/>
                  <a:gd name="connsiteY18" fmla="*/ 4079 h 10000"/>
                  <a:gd name="connsiteX19" fmla="*/ 9098 w 10000"/>
                  <a:gd name="connsiteY19" fmla="*/ 3200 h 10000"/>
                  <a:gd name="connsiteX20" fmla="*/ 9399 w 10000"/>
                  <a:gd name="connsiteY20" fmla="*/ 2942 h 10000"/>
                  <a:gd name="connsiteX21" fmla="*/ 10000 w 10000"/>
                  <a:gd name="connsiteY21" fmla="*/ 2530 h 10000"/>
                  <a:gd name="connsiteX22" fmla="*/ 9774 w 10000"/>
                  <a:gd name="connsiteY22" fmla="*/ 2477 h 10000"/>
                  <a:gd name="connsiteX23" fmla="*/ 9399 w 10000"/>
                  <a:gd name="connsiteY23" fmla="*/ 2220 h 10000"/>
                  <a:gd name="connsiteX24" fmla="*/ 9173 w 10000"/>
                  <a:gd name="connsiteY24" fmla="*/ 1446 h 10000"/>
                  <a:gd name="connsiteX25" fmla="*/ 9173 w 10000"/>
                  <a:gd name="connsiteY25" fmla="*/ 1032 h 10000"/>
                  <a:gd name="connsiteX26" fmla="*/ 9098 w 10000"/>
                  <a:gd name="connsiteY26" fmla="*/ 516 h 10000"/>
                  <a:gd name="connsiteX27" fmla="*/ 8873 w 10000"/>
                  <a:gd name="connsiteY27" fmla="*/ 362 h 10000"/>
                  <a:gd name="connsiteX28" fmla="*/ 8497 w 10000"/>
                  <a:gd name="connsiteY28" fmla="*/ 155 h 10000"/>
                  <a:gd name="connsiteX29" fmla="*/ 8272 w 10000"/>
                  <a:gd name="connsiteY29" fmla="*/ 0 h 10000"/>
                  <a:gd name="connsiteX30" fmla="*/ 7821 w 10000"/>
                  <a:gd name="connsiteY30" fmla="*/ 206 h 10000"/>
                  <a:gd name="connsiteX31" fmla="*/ 7370 w 10000"/>
                  <a:gd name="connsiteY31" fmla="*/ 516 h 10000"/>
                  <a:gd name="connsiteX32" fmla="*/ 6769 w 10000"/>
                  <a:gd name="connsiteY32" fmla="*/ 516 h 10000"/>
                  <a:gd name="connsiteX33" fmla="*/ 5717 w 10000"/>
                  <a:gd name="connsiteY33" fmla="*/ 516 h 10000"/>
                  <a:gd name="connsiteX34" fmla="*/ 5717 w 10000"/>
                  <a:gd name="connsiteY34" fmla="*/ 465 h 10000"/>
                  <a:gd name="connsiteX35" fmla="*/ 5643 w 10000"/>
                  <a:gd name="connsiteY35" fmla="*/ 516 h 10000"/>
                  <a:gd name="connsiteX36" fmla="*/ 1961 w 10000"/>
                  <a:gd name="connsiteY36" fmla="*/ 516 h 10000"/>
                  <a:gd name="connsiteX37" fmla="*/ 1961 w 10000"/>
                  <a:gd name="connsiteY37" fmla="*/ 1600 h 10000"/>
                  <a:gd name="connsiteX38" fmla="*/ 1285 w 10000"/>
                  <a:gd name="connsiteY38" fmla="*/ 1600 h 10000"/>
                  <a:gd name="connsiteX39" fmla="*/ 1285 w 10000"/>
                  <a:gd name="connsiteY39" fmla="*/ 1807 h 10000"/>
                  <a:gd name="connsiteX40" fmla="*/ 1285 w 10000"/>
                  <a:gd name="connsiteY40" fmla="*/ 3664 h 10000"/>
                  <a:gd name="connsiteX41" fmla="*/ 1135 w 10000"/>
                  <a:gd name="connsiteY41" fmla="*/ 3767 h 10000"/>
                  <a:gd name="connsiteX42" fmla="*/ 684 w 10000"/>
                  <a:gd name="connsiteY42" fmla="*/ 3975 h 10000"/>
                  <a:gd name="connsiteX43" fmla="*/ 609 w 10000"/>
                  <a:gd name="connsiteY43" fmla="*/ 4233 h 10000"/>
                  <a:gd name="connsiteX44" fmla="*/ 384 w 10000"/>
                  <a:gd name="connsiteY44" fmla="*/ 4491 h 10000"/>
                  <a:gd name="connsiteX45" fmla="*/ 234 w 10000"/>
                  <a:gd name="connsiteY45" fmla="*/ 4904 h 10000"/>
                  <a:gd name="connsiteX46" fmla="*/ 8 w 10000"/>
                  <a:gd name="connsiteY46" fmla="*/ 5369 h 10000"/>
                  <a:gd name="connsiteX47" fmla="*/ 384 w 10000"/>
                  <a:gd name="connsiteY47" fmla="*/ 5420 h 10000"/>
                  <a:gd name="connsiteX48" fmla="*/ 458 w 10000"/>
                  <a:gd name="connsiteY48" fmla="*/ 5832 h 10000"/>
                  <a:gd name="connsiteX49" fmla="*/ 684 w 10000"/>
                  <a:gd name="connsiteY49" fmla="*/ 6246 h 10000"/>
                  <a:gd name="connsiteX50" fmla="*/ 1059 w 10000"/>
                  <a:gd name="connsiteY50" fmla="*/ 7072 h 10000"/>
                  <a:gd name="connsiteX0" fmla="*/ 6769 w 10000"/>
                  <a:gd name="connsiteY0" fmla="*/ 9756 h 9859"/>
                  <a:gd name="connsiteX1" fmla="*/ 6919 w 10000"/>
                  <a:gd name="connsiteY1" fmla="*/ 9859 h 9859"/>
                  <a:gd name="connsiteX2" fmla="*/ 7220 w 10000"/>
                  <a:gd name="connsiteY2" fmla="*/ 9601 h 9859"/>
                  <a:gd name="connsiteX3" fmla="*/ 7671 w 10000"/>
                  <a:gd name="connsiteY3" fmla="*/ 9292 h 9859"/>
                  <a:gd name="connsiteX4" fmla="*/ 8197 w 10000"/>
                  <a:gd name="connsiteY4" fmla="*/ 9292 h 9859"/>
                  <a:gd name="connsiteX5" fmla="*/ 8422 w 10000"/>
                  <a:gd name="connsiteY5" fmla="*/ 9446 h 9859"/>
                  <a:gd name="connsiteX6" fmla="*/ 8272 w 10000"/>
                  <a:gd name="connsiteY6" fmla="*/ 9034 h 9859"/>
                  <a:gd name="connsiteX7" fmla="*/ 7821 w 10000"/>
                  <a:gd name="connsiteY7" fmla="*/ 8568 h 9859"/>
                  <a:gd name="connsiteX8" fmla="*/ 7370 w 10000"/>
                  <a:gd name="connsiteY8" fmla="*/ 8104 h 9859"/>
                  <a:gd name="connsiteX9" fmla="*/ 6769 w 10000"/>
                  <a:gd name="connsiteY9" fmla="*/ 7691 h 9859"/>
                  <a:gd name="connsiteX10" fmla="*/ 7145 w 10000"/>
                  <a:gd name="connsiteY10" fmla="*/ 7537 h 9859"/>
                  <a:gd name="connsiteX11" fmla="*/ 7446 w 10000"/>
                  <a:gd name="connsiteY11" fmla="*/ 6710 h 9859"/>
                  <a:gd name="connsiteX12" fmla="*/ 7446 w 10000"/>
                  <a:gd name="connsiteY12" fmla="*/ 6350 h 9859"/>
                  <a:gd name="connsiteX13" fmla="*/ 7821 w 10000"/>
                  <a:gd name="connsiteY13" fmla="*/ 6350 h 9859"/>
                  <a:gd name="connsiteX14" fmla="*/ 8047 w 10000"/>
                  <a:gd name="connsiteY14" fmla="*/ 5678 h 9859"/>
                  <a:gd name="connsiteX15" fmla="*/ 8648 w 10000"/>
                  <a:gd name="connsiteY15" fmla="*/ 5265 h 9859"/>
                  <a:gd name="connsiteX16" fmla="*/ 8873 w 10000"/>
                  <a:gd name="connsiteY16" fmla="*/ 4491 h 9859"/>
                  <a:gd name="connsiteX17" fmla="*/ 8722 w 10000"/>
                  <a:gd name="connsiteY17" fmla="*/ 4079 h 9859"/>
                  <a:gd name="connsiteX18" fmla="*/ 9098 w 10000"/>
                  <a:gd name="connsiteY18" fmla="*/ 3200 h 9859"/>
                  <a:gd name="connsiteX19" fmla="*/ 9399 w 10000"/>
                  <a:gd name="connsiteY19" fmla="*/ 2942 h 9859"/>
                  <a:gd name="connsiteX20" fmla="*/ 10000 w 10000"/>
                  <a:gd name="connsiteY20" fmla="*/ 2530 h 9859"/>
                  <a:gd name="connsiteX21" fmla="*/ 9774 w 10000"/>
                  <a:gd name="connsiteY21" fmla="*/ 2477 h 9859"/>
                  <a:gd name="connsiteX22" fmla="*/ 9399 w 10000"/>
                  <a:gd name="connsiteY22" fmla="*/ 2220 h 9859"/>
                  <a:gd name="connsiteX23" fmla="*/ 9173 w 10000"/>
                  <a:gd name="connsiteY23" fmla="*/ 1446 h 9859"/>
                  <a:gd name="connsiteX24" fmla="*/ 9173 w 10000"/>
                  <a:gd name="connsiteY24" fmla="*/ 1032 h 9859"/>
                  <a:gd name="connsiteX25" fmla="*/ 9098 w 10000"/>
                  <a:gd name="connsiteY25" fmla="*/ 516 h 9859"/>
                  <a:gd name="connsiteX26" fmla="*/ 8873 w 10000"/>
                  <a:gd name="connsiteY26" fmla="*/ 362 h 9859"/>
                  <a:gd name="connsiteX27" fmla="*/ 8497 w 10000"/>
                  <a:gd name="connsiteY27" fmla="*/ 155 h 9859"/>
                  <a:gd name="connsiteX28" fmla="*/ 8272 w 10000"/>
                  <a:gd name="connsiteY28" fmla="*/ 0 h 9859"/>
                  <a:gd name="connsiteX29" fmla="*/ 7821 w 10000"/>
                  <a:gd name="connsiteY29" fmla="*/ 206 h 9859"/>
                  <a:gd name="connsiteX30" fmla="*/ 7370 w 10000"/>
                  <a:gd name="connsiteY30" fmla="*/ 516 h 9859"/>
                  <a:gd name="connsiteX31" fmla="*/ 6769 w 10000"/>
                  <a:gd name="connsiteY31" fmla="*/ 516 h 9859"/>
                  <a:gd name="connsiteX32" fmla="*/ 5717 w 10000"/>
                  <a:gd name="connsiteY32" fmla="*/ 516 h 9859"/>
                  <a:gd name="connsiteX33" fmla="*/ 5717 w 10000"/>
                  <a:gd name="connsiteY33" fmla="*/ 465 h 9859"/>
                  <a:gd name="connsiteX34" fmla="*/ 5643 w 10000"/>
                  <a:gd name="connsiteY34" fmla="*/ 516 h 9859"/>
                  <a:gd name="connsiteX35" fmla="*/ 1961 w 10000"/>
                  <a:gd name="connsiteY35" fmla="*/ 516 h 9859"/>
                  <a:gd name="connsiteX36" fmla="*/ 1961 w 10000"/>
                  <a:gd name="connsiteY36" fmla="*/ 1600 h 9859"/>
                  <a:gd name="connsiteX37" fmla="*/ 1285 w 10000"/>
                  <a:gd name="connsiteY37" fmla="*/ 1600 h 9859"/>
                  <a:gd name="connsiteX38" fmla="*/ 1285 w 10000"/>
                  <a:gd name="connsiteY38" fmla="*/ 1807 h 9859"/>
                  <a:gd name="connsiteX39" fmla="*/ 1285 w 10000"/>
                  <a:gd name="connsiteY39" fmla="*/ 3664 h 9859"/>
                  <a:gd name="connsiteX40" fmla="*/ 1135 w 10000"/>
                  <a:gd name="connsiteY40" fmla="*/ 3767 h 9859"/>
                  <a:gd name="connsiteX41" fmla="*/ 684 w 10000"/>
                  <a:gd name="connsiteY41" fmla="*/ 3975 h 9859"/>
                  <a:gd name="connsiteX42" fmla="*/ 609 w 10000"/>
                  <a:gd name="connsiteY42" fmla="*/ 4233 h 9859"/>
                  <a:gd name="connsiteX43" fmla="*/ 384 w 10000"/>
                  <a:gd name="connsiteY43" fmla="*/ 4491 h 9859"/>
                  <a:gd name="connsiteX44" fmla="*/ 234 w 10000"/>
                  <a:gd name="connsiteY44" fmla="*/ 4904 h 9859"/>
                  <a:gd name="connsiteX45" fmla="*/ 8 w 10000"/>
                  <a:gd name="connsiteY45" fmla="*/ 5369 h 9859"/>
                  <a:gd name="connsiteX46" fmla="*/ 384 w 10000"/>
                  <a:gd name="connsiteY46" fmla="*/ 5420 h 9859"/>
                  <a:gd name="connsiteX47" fmla="*/ 458 w 10000"/>
                  <a:gd name="connsiteY47" fmla="*/ 5832 h 9859"/>
                  <a:gd name="connsiteX48" fmla="*/ 684 w 10000"/>
                  <a:gd name="connsiteY48" fmla="*/ 6246 h 9859"/>
                  <a:gd name="connsiteX49" fmla="*/ 1059 w 10000"/>
                  <a:gd name="connsiteY49" fmla="*/ 7072 h 9859"/>
                  <a:gd name="connsiteX0" fmla="*/ 6919 w 10000"/>
                  <a:gd name="connsiteY0" fmla="*/ 10000 h 10000"/>
                  <a:gd name="connsiteX1" fmla="*/ 7220 w 10000"/>
                  <a:gd name="connsiteY1" fmla="*/ 9738 h 10000"/>
                  <a:gd name="connsiteX2" fmla="*/ 7671 w 10000"/>
                  <a:gd name="connsiteY2" fmla="*/ 9425 h 10000"/>
                  <a:gd name="connsiteX3" fmla="*/ 8197 w 10000"/>
                  <a:gd name="connsiteY3" fmla="*/ 9425 h 10000"/>
                  <a:gd name="connsiteX4" fmla="*/ 8422 w 10000"/>
                  <a:gd name="connsiteY4" fmla="*/ 9581 h 10000"/>
                  <a:gd name="connsiteX5" fmla="*/ 8272 w 10000"/>
                  <a:gd name="connsiteY5" fmla="*/ 9163 h 10000"/>
                  <a:gd name="connsiteX6" fmla="*/ 7821 w 10000"/>
                  <a:gd name="connsiteY6" fmla="*/ 8691 h 10000"/>
                  <a:gd name="connsiteX7" fmla="*/ 7370 w 10000"/>
                  <a:gd name="connsiteY7" fmla="*/ 8220 h 10000"/>
                  <a:gd name="connsiteX8" fmla="*/ 6769 w 10000"/>
                  <a:gd name="connsiteY8" fmla="*/ 7801 h 10000"/>
                  <a:gd name="connsiteX9" fmla="*/ 7145 w 10000"/>
                  <a:gd name="connsiteY9" fmla="*/ 7645 h 10000"/>
                  <a:gd name="connsiteX10" fmla="*/ 7446 w 10000"/>
                  <a:gd name="connsiteY10" fmla="*/ 6806 h 10000"/>
                  <a:gd name="connsiteX11" fmla="*/ 7446 w 10000"/>
                  <a:gd name="connsiteY11" fmla="*/ 6441 h 10000"/>
                  <a:gd name="connsiteX12" fmla="*/ 7821 w 10000"/>
                  <a:gd name="connsiteY12" fmla="*/ 6441 h 10000"/>
                  <a:gd name="connsiteX13" fmla="*/ 8047 w 10000"/>
                  <a:gd name="connsiteY13" fmla="*/ 5759 h 10000"/>
                  <a:gd name="connsiteX14" fmla="*/ 8648 w 10000"/>
                  <a:gd name="connsiteY14" fmla="*/ 5340 h 10000"/>
                  <a:gd name="connsiteX15" fmla="*/ 8873 w 10000"/>
                  <a:gd name="connsiteY15" fmla="*/ 4555 h 10000"/>
                  <a:gd name="connsiteX16" fmla="*/ 8722 w 10000"/>
                  <a:gd name="connsiteY16" fmla="*/ 4137 h 10000"/>
                  <a:gd name="connsiteX17" fmla="*/ 9098 w 10000"/>
                  <a:gd name="connsiteY17" fmla="*/ 3246 h 10000"/>
                  <a:gd name="connsiteX18" fmla="*/ 9399 w 10000"/>
                  <a:gd name="connsiteY18" fmla="*/ 2984 h 10000"/>
                  <a:gd name="connsiteX19" fmla="*/ 10000 w 10000"/>
                  <a:gd name="connsiteY19" fmla="*/ 2566 h 10000"/>
                  <a:gd name="connsiteX20" fmla="*/ 9774 w 10000"/>
                  <a:gd name="connsiteY20" fmla="*/ 2512 h 10000"/>
                  <a:gd name="connsiteX21" fmla="*/ 9399 w 10000"/>
                  <a:gd name="connsiteY21" fmla="*/ 2252 h 10000"/>
                  <a:gd name="connsiteX22" fmla="*/ 9173 w 10000"/>
                  <a:gd name="connsiteY22" fmla="*/ 1467 h 10000"/>
                  <a:gd name="connsiteX23" fmla="*/ 9173 w 10000"/>
                  <a:gd name="connsiteY23" fmla="*/ 1047 h 10000"/>
                  <a:gd name="connsiteX24" fmla="*/ 9098 w 10000"/>
                  <a:gd name="connsiteY24" fmla="*/ 523 h 10000"/>
                  <a:gd name="connsiteX25" fmla="*/ 8873 w 10000"/>
                  <a:gd name="connsiteY25" fmla="*/ 367 h 10000"/>
                  <a:gd name="connsiteX26" fmla="*/ 8497 w 10000"/>
                  <a:gd name="connsiteY26" fmla="*/ 157 h 10000"/>
                  <a:gd name="connsiteX27" fmla="*/ 8272 w 10000"/>
                  <a:gd name="connsiteY27" fmla="*/ 0 h 10000"/>
                  <a:gd name="connsiteX28" fmla="*/ 7821 w 10000"/>
                  <a:gd name="connsiteY28" fmla="*/ 209 h 10000"/>
                  <a:gd name="connsiteX29" fmla="*/ 7370 w 10000"/>
                  <a:gd name="connsiteY29" fmla="*/ 523 h 10000"/>
                  <a:gd name="connsiteX30" fmla="*/ 6769 w 10000"/>
                  <a:gd name="connsiteY30" fmla="*/ 523 h 10000"/>
                  <a:gd name="connsiteX31" fmla="*/ 5717 w 10000"/>
                  <a:gd name="connsiteY31" fmla="*/ 523 h 10000"/>
                  <a:gd name="connsiteX32" fmla="*/ 5717 w 10000"/>
                  <a:gd name="connsiteY32" fmla="*/ 472 h 10000"/>
                  <a:gd name="connsiteX33" fmla="*/ 5643 w 10000"/>
                  <a:gd name="connsiteY33" fmla="*/ 523 h 10000"/>
                  <a:gd name="connsiteX34" fmla="*/ 1961 w 10000"/>
                  <a:gd name="connsiteY34" fmla="*/ 523 h 10000"/>
                  <a:gd name="connsiteX35" fmla="*/ 1961 w 10000"/>
                  <a:gd name="connsiteY35" fmla="*/ 1623 h 10000"/>
                  <a:gd name="connsiteX36" fmla="*/ 1285 w 10000"/>
                  <a:gd name="connsiteY36" fmla="*/ 1623 h 10000"/>
                  <a:gd name="connsiteX37" fmla="*/ 1285 w 10000"/>
                  <a:gd name="connsiteY37" fmla="*/ 1833 h 10000"/>
                  <a:gd name="connsiteX38" fmla="*/ 1285 w 10000"/>
                  <a:gd name="connsiteY38" fmla="*/ 3716 h 10000"/>
                  <a:gd name="connsiteX39" fmla="*/ 1135 w 10000"/>
                  <a:gd name="connsiteY39" fmla="*/ 3821 h 10000"/>
                  <a:gd name="connsiteX40" fmla="*/ 684 w 10000"/>
                  <a:gd name="connsiteY40" fmla="*/ 4032 h 10000"/>
                  <a:gd name="connsiteX41" fmla="*/ 609 w 10000"/>
                  <a:gd name="connsiteY41" fmla="*/ 4294 h 10000"/>
                  <a:gd name="connsiteX42" fmla="*/ 384 w 10000"/>
                  <a:gd name="connsiteY42" fmla="*/ 4555 h 10000"/>
                  <a:gd name="connsiteX43" fmla="*/ 234 w 10000"/>
                  <a:gd name="connsiteY43" fmla="*/ 4974 h 10000"/>
                  <a:gd name="connsiteX44" fmla="*/ 8 w 10000"/>
                  <a:gd name="connsiteY44" fmla="*/ 5446 h 10000"/>
                  <a:gd name="connsiteX45" fmla="*/ 384 w 10000"/>
                  <a:gd name="connsiteY45" fmla="*/ 5498 h 10000"/>
                  <a:gd name="connsiteX46" fmla="*/ 458 w 10000"/>
                  <a:gd name="connsiteY46" fmla="*/ 5915 h 10000"/>
                  <a:gd name="connsiteX47" fmla="*/ 684 w 10000"/>
                  <a:gd name="connsiteY47" fmla="*/ 6335 h 10000"/>
                  <a:gd name="connsiteX48" fmla="*/ 1059 w 10000"/>
                  <a:gd name="connsiteY48" fmla="*/ 7173 h 10000"/>
                  <a:gd name="connsiteX0" fmla="*/ 7220 w 10000"/>
                  <a:gd name="connsiteY0" fmla="*/ 9738 h 9738"/>
                  <a:gd name="connsiteX1" fmla="*/ 7671 w 10000"/>
                  <a:gd name="connsiteY1" fmla="*/ 9425 h 9738"/>
                  <a:gd name="connsiteX2" fmla="*/ 8197 w 10000"/>
                  <a:gd name="connsiteY2" fmla="*/ 9425 h 9738"/>
                  <a:gd name="connsiteX3" fmla="*/ 8422 w 10000"/>
                  <a:gd name="connsiteY3" fmla="*/ 9581 h 9738"/>
                  <a:gd name="connsiteX4" fmla="*/ 8272 w 10000"/>
                  <a:gd name="connsiteY4" fmla="*/ 9163 h 9738"/>
                  <a:gd name="connsiteX5" fmla="*/ 7821 w 10000"/>
                  <a:gd name="connsiteY5" fmla="*/ 8691 h 9738"/>
                  <a:gd name="connsiteX6" fmla="*/ 7370 w 10000"/>
                  <a:gd name="connsiteY6" fmla="*/ 8220 h 9738"/>
                  <a:gd name="connsiteX7" fmla="*/ 6769 w 10000"/>
                  <a:gd name="connsiteY7" fmla="*/ 7801 h 9738"/>
                  <a:gd name="connsiteX8" fmla="*/ 7145 w 10000"/>
                  <a:gd name="connsiteY8" fmla="*/ 7645 h 9738"/>
                  <a:gd name="connsiteX9" fmla="*/ 7446 w 10000"/>
                  <a:gd name="connsiteY9" fmla="*/ 6806 h 9738"/>
                  <a:gd name="connsiteX10" fmla="*/ 7446 w 10000"/>
                  <a:gd name="connsiteY10" fmla="*/ 6441 h 9738"/>
                  <a:gd name="connsiteX11" fmla="*/ 7821 w 10000"/>
                  <a:gd name="connsiteY11" fmla="*/ 6441 h 9738"/>
                  <a:gd name="connsiteX12" fmla="*/ 8047 w 10000"/>
                  <a:gd name="connsiteY12" fmla="*/ 5759 h 9738"/>
                  <a:gd name="connsiteX13" fmla="*/ 8648 w 10000"/>
                  <a:gd name="connsiteY13" fmla="*/ 5340 h 9738"/>
                  <a:gd name="connsiteX14" fmla="*/ 8873 w 10000"/>
                  <a:gd name="connsiteY14" fmla="*/ 4555 h 9738"/>
                  <a:gd name="connsiteX15" fmla="*/ 8722 w 10000"/>
                  <a:gd name="connsiteY15" fmla="*/ 4137 h 9738"/>
                  <a:gd name="connsiteX16" fmla="*/ 9098 w 10000"/>
                  <a:gd name="connsiteY16" fmla="*/ 3246 h 9738"/>
                  <a:gd name="connsiteX17" fmla="*/ 9399 w 10000"/>
                  <a:gd name="connsiteY17" fmla="*/ 2984 h 9738"/>
                  <a:gd name="connsiteX18" fmla="*/ 10000 w 10000"/>
                  <a:gd name="connsiteY18" fmla="*/ 2566 h 9738"/>
                  <a:gd name="connsiteX19" fmla="*/ 9774 w 10000"/>
                  <a:gd name="connsiteY19" fmla="*/ 2512 h 9738"/>
                  <a:gd name="connsiteX20" fmla="*/ 9399 w 10000"/>
                  <a:gd name="connsiteY20" fmla="*/ 2252 h 9738"/>
                  <a:gd name="connsiteX21" fmla="*/ 9173 w 10000"/>
                  <a:gd name="connsiteY21" fmla="*/ 1467 h 9738"/>
                  <a:gd name="connsiteX22" fmla="*/ 9173 w 10000"/>
                  <a:gd name="connsiteY22" fmla="*/ 1047 h 9738"/>
                  <a:gd name="connsiteX23" fmla="*/ 9098 w 10000"/>
                  <a:gd name="connsiteY23" fmla="*/ 523 h 9738"/>
                  <a:gd name="connsiteX24" fmla="*/ 8873 w 10000"/>
                  <a:gd name="connsiteY24" fmla="*/ 367 h 9738"/>
                  <a:gd name="connsiteX25" fmla="*/ 8497 w 10000"/>
                  <a:gd name="connsiteY25" fmla="*/ 157 h 9738"/>
                  <a:gd name="connsiteX26" fmla="*/ 8272 w 10000"/>
                  <a:gd name="connsiteY26" fmla="*/ 0 h 9738"/>
                  <a:gd name="connsiteX27" fmla="*/ 7821 w 10000"/>
                  <a:gd name="connsiteY27" fmla="*/ 209 h 9738"/>
                  <a:gd name="connsiteX28" fmla="*/ 7370 w 10000"/>
                  <a:gd name="connsiteY28" fmla="*/ 523 h 9738"/>
                  <a:gd name="connsiteX29" fmla="*/ 6769 w 10000"/>
                  <a:gd name="connsiteY29" fmla="*/ 523 h 9738"/>
                  <a:gd name="connsiteX30" fmla="*/ 5717 w 10000"/>
                  <a:gd name="connsiteY30" fmla="*/ 523 h 9738"/>
                  <a:gd name="connsiteX31" fmla="*/ 5717 w 10000"/>
                  <a:gd name="connsiteY31" fmla="*/ 472 h 9738"/>
                  <a:gd name="connsiteX32" fmla="*/ 5643 w 10000"/>
                  <a:gd name="connsiteY32" fmla="*/ 523 h 9738"/>
                  <a:gd name="connsiteX33" fmla="*/ 1961 w 10000"/>
                  <a:gd name="connsiteY33" fmla="*/ 523 h 9738"/>
                  <a:gd name="connsiteX34" fmla="*/ 1961 w 10000"/>
                  <a:gd name="connsiteY34" fmla="*/ 1623 h 9738"/>
                  <a:gd name="connsiteX35" fmla="*/ 1285 w 10000"/>
                  <a:gd name="connsiteY35" fmla="*/ 1623 h 9738"/>
                  <a:gd name="connsiteX36" fmla="*/ 1285 w 10000"/>
                  <a:gd name="connsiteY36" fmla="*/ 1833 h 9738"/>
                  <a:gd name="connsiteX37" fmla="*/ 1285 w 10000"/>
                  <a:gd name="connsiteY37" fmla="*/ 3716 h 9738"/>
                  <a:gd name="connsiteX38" fmla="*/ 1135 w 10000"/>
                  <a:gd name="connsiteY38" fmla="*/ 3821 h 9738"/>
                  <a:gd name="connsiteX39" fmla="*/ 684 w 10000"/>
                  <a:gd name="connsiteY39" fmla="*/ 4032 h 9738"/>
                  <a:gd name="connsiteX40" fmla="*/ 609 w 10000"/>
                  <a:gd name="connsiteY40" fmla="*/ 4294 h 9738"/>
                  <a:gd name="connsiteX41" fmla="*/ 384 w 10000"/>
                  <a:gd name="connsiteY41" fmla="*/ 4555 h 9738"/>
                  <a:gd name="connsiteX42" fmla="*/ 234 w 10000"/>
                  <a:gd name="connsiteY42" fmla="*/ 4974 h 9738"/>
                  <a:gd name="connsiteX43" fmla="*/ 8 w 10000"/>
                  <a:gd name="connsiteY43" fmla="*/ 5446 h 9738"/>
                  <a:gd name="connsiteX44" fmla="*/ 384 w 10000"/>
                  <a:gd name="connsiteY44" fmla="*/ 5498 h 9738"/>
                  <a:gd name="connsiteX45" fmla="*/ 458 w 10000"/>
                  <a:gd name="connsiteY45" fmla="*/ 5915 h 9738"/>
                  <a:gd name="connsiteX46" fmla="*/ 684 w 10000"/>
                  <a:gd name="connsiteY46" fmla="*/ 6335 h 9738"/>
                  <a:gd name="connsiteX47" fmla="*/ 1059 w 10000"/>
                  <a:gd name="connsiteY47" fmla="*/ 7173 h 9738"/>
                  <a:gd name="connsiteX0" fmla="*/ 7671 w 10000"/>
                  <a:gd name="connsiteY0" fmla="*/ 9679 h 9839"/>
                  <a:gd name="connsiteX1" fmla="*/ 8197 w 10000"/>
                  <a:gd name="connsiteY1" fmla="*/ 9679 h 9839"/>
                  <a:gd name="connsiteX2" fmla="*/ 8422 w 10000"/>
                  <a:gd name="connsiteY2" fmla="*/ 9839 h 9839"/>
                  <a:gd name="connsiteX3" fmla="*/ 8272 w 10000"/>
                  <a:gd name="connsiteY3" fmla="*/ 9410 h 9839"/>
                  <a:gd name="connsiteX4" fmla="*/ 7821 w 10000"/>
                  <a:gd name="connsiteY4" fmla="*/ 8925 h 9839"/>
                  <a:gd name="connsiteX5" fmla="*/ 7370 w 10000"/>
                  <a:gd name="connsiteY5" fmla="*/ 8441 h 9839"/>
                  <a:gd name="connsiteX6" fmla="*/ 6769 w 10000"/>
                  <a:gd name="connsiteY6" fmla="*/ 8011 h 9839"/>
                  <a:gd name="connsiteX7" fmla="*/ 7145 w 10000"/>
                  <a:gd name="connsiteY7" fmla="*/ 7851 h 9839"/>
                  <a:gd name="connsiteX8" fmla="*/ 7446 w 10000"/>
                  <a:gd name="connsiteY8" fmla="*/ 6989 h 9839"/>
                  <a:gd name="connsiteX9" fmla="*/ 7446 w 10000"/>
                  <a:gd name="connsiteY9" fmla="*/ 6614 h 9839"/>
                  <a:gd name="connsiteX10" fmla="*/ 7821 w 10000"/>
                  <a:gd name="connsiteY10" fmla="*/ 6614 h 9839"/>
                  <a:gd name="connsiteX11" fmla="*/ 8047 w 10000"/>
                  <a:gd name="connsiteY11" fmla="*/ 5914 h 9839"/>
                  <a:gd name="connsiteX12" fmla="*/ 8648 w 10000"/>
                  <a:gd name="connsiteY12" fmla="*/ 5484 h 9839"/>
                  <a:gd name="connsiteX13" fmla="*/ 8873 w 10000"/>
                  <a:gd name="connsiteY13" fmla="*/ 4678 h 9839"/>
                  <a:gd name="connsiteX14" fmla="*/ 8722 w 10000"/>
                  <a:gd name="connsiteY14" fmla="*/ 4248 h 9839"/>
                  <a:gd name="connsiteX15" fmla="*/ 9098 w 10000"/>
                  <a:gd name="connsiteY15" fmla="*/ 3333 h 9839"/>
                  <a:gd name="connsiteX16" fmla="*/ 9399 w 10000"/>
                  <a:gd name="connsiteY16" fmla="*/ 3064 h 9839"/>
                  <a:gd name="connsiteX17" fmla="*/ 10000 w 10000"/>
                  <a:gd name="connsiteY17" fmla="*/ 2635 h 9839"/>
                  <a:gd name="connsiteX18" fmla="*/ 9774 w 10000"/>
                  <a:gd name="connsiteY18" fmla="*/ 2580 h 9839"/>
                  <a:gd name="connsiteX19" fmla="*/ 9399 w 10000"/>
                  <a:gd name="connsiteY19" fmla="*/ 2313 h 9839"/>
                  <a:gd name="connsiteX20" fmla="*/ 9173 w 10000"/>
                  <a:gd name="connsiteY20" fmla="*/ 1506 h 9839"/>
                  <a:gd name="connsiteX21" fmla="*/ 9173 w 10000"/>
                  <a:gd name="connsiteY21" fmla="*/ 1075 h 9839"/>
                  <a:gd name="connsiteX22" fmla="*/ 9098 w 10000"/>
                  <a:gd name="connsiteY22" fmla="*/ 537 h 9839"/>
                  <a:gd name="connsiteX23" fmla="*/ 8873 w 10000"/>
                  <a:gd name="connsiteY23" fmla="*/ 377 h 9839"/>
                  <a:gd name="connsiteX24" fmla="*/ 8497 w 10000"/>
                  <a:gd name="connsiteY24" fmla="*/ 161 h 9839"/>
                  <a:gd name="connsiteX25" fmla="*/ 8272 w 10000"/>
                  <a:gd name="connsiteY25" fmla="*/ 0 h 9839"/>
                  <a:gd name="connsiteX26" fmla="*/ 7821 w 10000"/>
                  <a:gd name="connsiteY26" fmla="*/ 215 h 9839"/>
                  <a:gd name="connsiteX27" fmla="*/ 7370 w 10000"/>
                  <a:gd name="connsiteY27" fmla="*/ 537 h 9839"/>
                  <a:gd name="connsiteX28" fmla="*/ 6769 w 10000"/>
                  <a:gd name="connsiteY28" fmla="*/ 537 h 9839"/>
                  <a:gd name="connsiteX29" fmla="*/ 5717 w 10000"/>
                  <a:gd name="connsiteY29" fmla="*/ 537 h 9839"/>
                  <a:gd name="connsiteX30" fmla="*/ 5717 w 10000"/>
                  <a:gd name="connsiteY30" fmla="*/ 485 h 9839"/>
                  <a:gd name="connsiteX31" fmla="*/ 5643 w 10000"/>
                  <a:gd name="connsiteY31" fmla="*/ 537 h 9839"/>
                  <a:gd name="connsiteX32" fmla="*/ 1961 w 10000"/>
                  <a:gd name="connsiteY32" fmla="*/ 537 h 9839"/>
                  <a:gd name="connsiteX33" fmla="*/ 1961 w 10000"/>
                  <a:gd name="connsiteY33" fmla="*/ 1667 h 9839"/>
                  <a:gd name="connsiteX34" fmla="*/ 1285 w 10000"/>
                  <a:gd name="connsiteY34" fmla="*/ 1667 h 9839"/>
                  <a:gd name="connsiteX35" fmla="*/ 1285 w 10000"/>
                  <a:gd name="connsiteY35" fmla="*/ 1882 h 9839"/>
                  <a:gd name="connsiteX36" fmla="*/ 1285 w 10000"/>
                  <a:gd name="connsiteY36" fmla="*/ 3816 h 9839"/>
                  <a:gd name="connsiteX37" fmla="*/ 1135 w 10000"/>
                  <a:gd name="connsiteY37" fmla="*/ 3924 h 9839"/>
                  <a:gd name="connsiteX38" fmla="*/ 684 w 10000"/>
                  <a:gd name="connsiteY38" fmla="*/ 4140 h 9839"/>
                  <a:gd name="connsiteX39" fmla="*/ 609 w 10000"/>
                  <a:gd name="connsiteY39" fmla="*/ 4410 h 9839"/>
                  <a:gd name="connsiteX40" fmla="*/ 384 w 10000"/>
                  <a:gd name="connsiteY40" fmla="*/ 4678 h 9839"/>
                  <a:gd name="connsiteX41" fmla="*/ 234 w 10000"/>
                  <a:gd name="connsiteY41" fmla="*/ 5108 h 9839"/>
                  <a:gd name="connsiteX42" fmla="*/ 8 w 10000"/>
                  <a:gd name="connsiteY42" fmla="*/ 5593 h 9839"/>
                  <a:gd name="connsiteX43" fmla="*/ 384 w 10000"/>
                  <a:gd name="connsiteY43" fmla="*/ 5646 h 9839"/>
                  <a:gd name="connsiteX44" fmla="*/ 458 w 10000"/>
                  <a:gd name="connsiteY44" fmla="*/ 6074 h 9839"/>
                  <a:gd name="connsiteX45" fmla="*/ 684 w 10000"/>
                  <a:gd name="connsiteY45" fmla="*/ 6505 h 9839"/>
                  <a:gd name="connsiteX46" fmla="*/ 1059 w 10000"/>
                  <a:gd name="connsiteY46" fmla="*/ 7366 h 9839"/>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145 w 10000"/>
                  <a:gd name="connsiteY6" fmla="*/ 7979 h 10000"/>
                  <a:gd name="connsiteX7" fmla="*/ 7446 w 10000"/>
                  <a:gd name="connsiteY7" fmla="*/ 7103 h 10000"/>
                  <a:gd name="connsiteX8" fmla="*/ 7446 w 10000"/>
                  <a:gd name="connsiteY8" fmla="*/ 6722 h 10000"/>
                  <a:gd name="connsiteX9" fmla="*/ 7821 w 10000"/>
                  <a:gd name="connsiteY9" fmla="*/ 6722 h 10000"/>
                  <a:gd name="connsiteX10" fmla="*/ 8047 w 10000"/>
                  <a:gd name="connsiteY10" fmla="*/ 6011 h 10000"/>
                  <a:gd name="connsiteX11" fmla="*/ 8648 w 10000"/>
                  <a:gd name="connsiteY11" fmla="*/ 5574 h 10000"/>
                  <a:gd name="connsiteX12" fmla="*/ 8873 w 10000"/>
                  <a:gd name="connsiteY12" fmla="*/ 4755 h 10000"/>
                  <a:gd name="connsiteX13" fmla="*/ 8722 w 10000"/>
                  <a:gd name="connsiteY13" fmla="*/ 4318 h 10000"/>
                  <a:gd name="connsiteX14" fmla="*/ 9098 w 10000"/>
                  <a:gd name="connsiteY14" fmla="*/ 3388 h 10000"/>
                  <a:gd name="connsiteX15" fmla="*/ 9399 w 10000"/>
                  <a:gd name="connsiteY15" fmla="*/ 3114 h 10000"/>
                  <a:gd name="connsiteX16" fmla="*/ 10000 w 10000"/>
                  <a:gd name="connsiteY16" fmla="*/ 2678 h 10000"/>
                  <a:gd name="connsiteX17" fmla="*/ 9774 w 10000"/>
                  <a:gd name="connsiteY17" fmla="*/ 2622 h 10000"/>
                  <a:gd name="connsiteX18" fmla="*/ 9399 w 10000"/>
                  <a:gd name="connsiteY18" fmla="*/ 2351 h 10000"/>
                  <a:gd name="connsiteX19" fmla="*/ 9173 w 10000"/>
                  <a:gd name="connsiteY19" fmla="*/ 1531 h 10000"/>
                  <a:gd name="connsiteX20" fmla="*/ 9173 w 10000"/>
                  <a:gd name="connsiteY20" fmla="*/ 1093 h 10000"/>
                  <a:gd name="connsiteX21" fmla="*/ 9098 w 10000"/>
                  <a:gd name="connsiteY21" fmla="*/ 546 h 10000"/>
                  <a:gd name="connsiteX22" fmla="*/ 8873 w 10000"/>
                  <a:gd name="connsiteY22" fmla="*/ 383 h 10000"/>
                  <a:gd name="connsiteX23" fmla="*/ 8497 w 10000"/>
                  <a:gd name="connsiteY23" fmla="*/ 164 h 10000"/>
                  <a:gd name="connsiteX24" fmla="*/ 8272 w 10000"/>
                  <a:gd name="connsiteY24" fmla="*/ 0 h 10000"/>
                  <a:gd name="connsiteX25" fmla="*/ 7821 w 10000"/>
                  <a:gd name="connsiteY25" fmla="*/ 219 h 10000"/>
                  <a:gd name="connsiteX26" fmla="*/ 7370 w 10000"/>
                  <a:gd name="connsiteY26" fmla="*/ 546 h 10000"/>
                  <a:gd name="connsiteX27" fmla="*/ 6769 w 10000"/>
                  <a:gd name="connsiteY27" fmla="*/ 546 h 10000"/>
                  <a:gd name="connsiteX28" fmla="*/ 5717 w 10000"/>
                  <a:gd name="connsiteY28" fmla="*/ 546 h 10000"/>
                  <a:gd name="connsiteX29" fmla="*/ 5717 w 10000"/>
                  <a:gd name="connsiteY29" fmla="*/ 493 h 10000"/>
                  <a:gd name="connsiteX30" fmla="*/ 5643 w 10000"/>
                  <a:gd name="connsiteY30" fmla="*/ 546 h 10000"/>
                  <a:gd name="connsiteX31" fmla="*/ 1961 w 10000"/>
                  <a:gd name="connsiteY31" fmla="*/ 546 h 10000"/>
                  <a:gd name="connsiteX32" fmla="*/ 1961 w 10000"/>
                  <a:gd name="connsiteY32" fmla="*/ 1694 h 10000"/>
                  <a:gd name="connsiteX33" fmla="*/ 1285 w 10000"/>
                  <a:gd name="connsiteY33" fmla="*/ 1694 h 10000"/>
                  <a:gd name="connsiteX34" fmla="*/ 1285 w 10000"/>
                  <a:gd name="connsiteY34" fmla="*/ 1913 h 10000"/>
                  <a:gd name="connsiteX35" fmla="*/ 1285 w 10000"/>
                  <a:gd name="connsiteY35" fmla="*/ 3878 h 10000"/>
                  <a:gd name="connsiteX36" fmla="*/ 1135 w 10000"/>
                  <a:gd name="connsiteY36" fmla="*/ 3988 h 10000"/>
                  <a:gd name="connsiteX37" fmla="*/ 684 w 10000"/>
                  <a:gd name="connsiteY37" fmla="*/ 4208 h 10000"/>
                  <a:gd name="connsiteX38" fmla="*/ 609 w 10000"/>
                  <a:gd name="connsiteY38" fmla="*/ 4482 h 10000"/>
                  <a:gd name="connsiteX39" fmla="*/ 384 w 10000"/>
                  <a:gd name="connsiteY39" fmla="*/ 4755 h 10000"/>
                  <a:gd name="connsiteX40" fmla="*/ 234 w 10000"/>
                  <a:gd name="connsiteY40" fmla="*/ 5192 h 10000"/>
                  <a:gd name="connsiteX41" fmla="*/ 8 w 10000"/>
                  <a:gd name="connsiteY41" fmla="*/ 5685 h 10000"/>
                  <a:gd name="connsiteX42" fmla="*/ 384 w 10000"/>
                  <a:gd name="connsiteY42" fmla="*/ 5738 h 10000"/>
                  <a:gd name="connsiteX43" fmla="*/ 458 w 10000"/>
                  <a:gd name="connsiteY43" fmla="*/ 6173 h 10000"/>
                  <a:gd name="connsiteX44" fmla="*/ 684 w 10000"/>
                  <a:gd name="connsiteY44" fmla="*/ 6611 h 10000"/>
                  <a:gd name="connsiteX45" fmla="*/ 1059 w 10000"/>
                  <a:gd name="connsiteY45"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6769 w 10000"/>
                  <a:gd name="connsiteY5" fmla="*/ 8142 h 10000"/>
                  <a:gd name="connsiteX6" fmla="*/ 7446 w 10000"/>
                  <a:gd name="connsiteY6" fmla="*/ 7103 h 10000"/>
                  <a:gd name="connsiteX7" fmla="*/ 7446 w 10000"/>
                  <a:gd name="connsiteY7" fmla="*/ 6722 h 10000"/>
                  <a:gd name="connsiteX8" fmla="*/ 7821 w 10000"/>
                  <a:gd name="connsiteY8" fmla="*/ 6722 h 10000"/>
                  <a:gd name="connsiteX9" fmla="*/ 8047 w 10000"/>
                  <a:gd name="connsiteY9" fmla="*/ 6011 h 10000"/>
                  <a:gd name="connsiteX10" fmla="*/ 8648 w 10000"/>
                  <a:gd name="connsiteY10" fmla="*/ 5574 h 10000"/>
                  <a:gd name="connsiteX11" fmla="*/ 8873 w 10000"/>
                  <a:gd name="connsiteY11" fmla="*/ 4755 h 10000"/>
                  <a:gd name="connsiteX12" fmla="*/ 8722 w 10000"/>
                  <a:gd name="connsiteY12" fmla="*/ 4318 h 10000"/>
                  <a:gd name="connsiteX13" fmla="*/ 9098 w 10000"/>
                  <a:gd name="connsiteY13" fmla="*/ 3388 h 10000"/>
                  <a:gd name="connsiteX14" fmla="*/ 9399 w 10000"/>
                  <a:gd name="connsiteY14" fmla="*/ 3114 h 10000"/>
                  <a:gd name="connsiteX15" fmla="*/ 10000 w 10000"/>
                  <a:gd name="connsiteY15" fmla="*/ 2678 h 10000"/>
                  <a:gd name="connsiteX16" fmla="*/ 9774 w 10000"/>
                  <a:gd name="connsiteY16" fmla="*/ 2622 h 10000"/>
                  <a:gd name="connsiteX17" fmla="*/ 9399 w 10000"/>
                  <a:gd name="connsiteY17" fmla="*/ 2351 h 10000"/>
                  <a:gd name="connsiteX18" fmla="*/ 9173 w 10000"/>
                  <a:gd name="connsiteY18" fmla="*/ 1531 h 10000"/>
                  <a:gd name="connsiteX19" fmla="*/ 9173 w 10000"/>
                  <a:gd name="connsiteY19" fmla="*/ 1093 h 10000"/>
                  <a:gd name="connsiteX20" fmla="*/ 9098 w 10000"/>
                  <a:gd name="connsiteY20" fmla="*/ 546 h 10000"/>
                  <a:gd name="connsiteX21" fmla="*/ 8873 w 10000"/>
                  <a:gd name="connsiteY21" fmla="*/ 383 h 10000"/>
                  <a:gd name="connsiteX22" fmla="*/ 8497 w 10000"/>
                  <a:gd name="connsiteY22" fmla="*/ 164 h 10000"/>
                  <a:gd name="connsiteX23" fmla="*/ 8272 w 10000"/>
                  <a:gd name="connsiteY23" fmla="*/ 0 h 10000"/>
                  <a:gd name="connsiteX24" fmla="*/ 7821 w 10000"/>
                  <a:gd name="connsiteY24" fmla="*/ 219 h 10000"/>
                  <a:gd name="connsiteX25" fmla="*/ 7370 w 10000"/>
                  <a:gd name="connsiteY25" fmla="*/ 546 h 10000"/>
                  <a:gd name="connsiteX26" fmla="*/ 6769 w 10000"/>
                  <a:gd name="connsiteY26" fmla="*/ 546 h 10000"/>
                  <a:gd name="connsiteX27" fmla="*/ 5717 w 10000"/>
                  <a:gd name="connsiteY27" fmla="*/ 546 h 10000"/>
                  <a:gd name="connsiteX28" fmla="*/ 5717 w 10000"/>
                  <a:gd name="connsiteY28" fmla="*/ 493 h 10000"/>
                  <a:gd name="connsiteX29" fmla="*/ 5643 w 10000"/>
                  <a:gd name="connsiteY29" fmla="*/ 546 h 10000"/>
                  <a:gd name="connsiteX30" fmla="*/ 1961 w 10000"/>
                  <a:gd name="connsiteY30" fmla="*/ 546 h 10000"/>
                  <a:gd name="connsiteX31" fmla="*/ 1961 w 10000"/>
                  <a:gd name="connsiteY31" fmla="*/ 1694 h 10000"/>
                  <a:gd name="connsiteX32" fmla="*/ 1285 w 10000"/>
                  <a:gd name="connsiteY32" fmla="*/ 1694 h 10000"/>
                  <a:gd name="connsiteX33" fmla="*/ 1285 w 10000"/>
                  <a:gd name="connsiteY33" fmla="*/ 1913 h 10000"/>
                  <a:gd name="connsiteX34" fmla="*/ 1285 w 10000"/>
                  <a:gd name="connsiteY34" fmla="*/ 3878 h 10000"/>
                  <a:gd name="connsiteX35" fmla="*/ 1135 w 10000"/>
                  <a:gd name="connsiteY35" fmla="*/ 3988 h 10000"/>
                  <a:gd name="connsiteX36" fmla="*/ 684 w 10000"/>
                  <a:gd name="connsiteY36" fmla="*/ 4208 h 10000"/>
                  <a:gd name="connsiteX37" fmla="*/ 609 w 10000"/>
                  <a:gd name="connsiteY37" fmla="*/ 4482 h 10000"/>
                  <a:gd name="connsiteX38" fmla="*/ 384 w 10000"/>
                  <a:gd name="connsiteY38" fmla="*/ 4755 h 10000"/>
                  <a:gd name="connsiteX39" fmla="*/ 234 w 10000"/>
                  <a:gd name="connsiteY39" fmla="*/ 5192 h 10000"/>
                  <a:gd name="connsiteX40" fmla="*/ 8 w 10000"/>
                  <a:gd name="connsiteY40" fmla="*/ 5685 h 10000"/>
                  <a:gd name="connsiteX41" fmla="*/ 384 w 10000"/>
                  <a:gd name="connsiteY41" fmla="*/ 5738 h 10000"/>
                  <a:gd name="connsiteX42" fmla="*/ 458 w 10000"/>
                  <a:gd name="connsiteY42" fmla="*/ 6173 h 10000"/>
                  <a:gd name="connsiteX43" fmla="*/ 684 w 10000"/>
                  <a:gd name="connsiteY43" fmla="*/ 6611 h 10000"/>
                  <a:gd name="connsiteX44" fmla="*/ 1059 w 10000"/>
                  <a:gd name="connsiteY44"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370 w 10000"/>
                  <a:gd name="connsiteY4" fmla="*/ 8579 h 10000"/>
                  <a:gd name="connsiteX5" fmla="*/ 7446 w 10000"/>
                  <a:gd name="connsiteY5" fmla="*/ 7103 h 10000"/>
                  <a:gd name="connsiteX6" fmla="*/ 7446 w 10000"/>
                  <a:gd name="connsiteY6" fmla="*/ 6722 h 10000"/>
                  <a:gd name="connsiteX7" fmla="*/ 7821 w 10000"/>
                  <a:gd name="connsiteY7" fmla="*/ 6722 h 10000"/>
                  <a:gd name="connsiteX8" fmla="*/ 8047 w 10000"/>
                  <a:gd name="connsiteY8" fmla="*/ 6011 h 10000"/>
                  <a:gd name="connsiteX9" fmla="*/ 8648 w 10000"/>
                  <a:gd name="connsiteY9" fmla="*/ 5574 h 10000"/>
                  <a:gd name="connsiteX10" fmla="*/ 8873 w 10000"/>
                  <a:gd name="connsiteY10" fmla="*/ 4755 h 10000"/>
                  <a:gd name="connsiteX11" fmla="*/ 8722 w 10000"/>
                  <a:gd name="connsiteY11" fmla="*/ 4318 h 10000"/>
                  <a:gd name="connsiteX12" fmla="*/ 9098 w 10000"/>
                  <a:gd name="connsiteY12" fmla="*/ 3388 h 10000"/>
                  <a:gd name="connsiteX13" fmla="*/ 9399 w 10000"/>
                  <a:gd name="connsiteY13" fmla="*/ 3114 h 10000"/>
                  <a:gd name="connsiteX14" fmla="*/ 10000 w 10000"/>
                  <a:gd name="connsiteY14" fmla="*/ 2678 h 10000"/>
                  <a:gd name="connsiteX15" fmla="*/ 9774 w 10000"/>
                  <a:gd name="connsiteY15" fmla="*/ 2622 h 10000"/>
                  <a:gd name="connsiteX16" fmla="*/ 9399 w 10000"/>
                  <a:gd name="connsiteY16" fmla="*/ 2351 h 10000"/>
                  <a:gd name="connsiteX17" fmla="*/ 9173 w 10000"/>
                  <a:gd name="connsiteY17" fmla="*/ 1531 h 10000"/>
                  <a:gd name="connsiteX18" fmla="*/ 9173 w 10000"/>
                  <a:gd name="connsiteY18" fmla="*/ 1093 h 10000"/>
                  <a:gd name="connsiteX19" fmla="*/ 9098 w 10000"/>
                  <a:gd name="connsiteY19" fmla="*/ 546 h 10000"/>
                  <a:gd name="connsiteX20" fmla="*/ 8873 w 10000"/>
                  <a:gd name="connsiteY20" fmla="*/ 383 h 10000"/>
                  <a:gd name="connsiteX21" fmla="*/ 8497 w 10000"/>
                  <a:gd name="connsiteY21" fmla="*/ 164 h 10000"/>
                  <a:gd name="connsiteX22" fmla="*/ 8272 w 10000"/>
                  <a:gd name="connsiteY22" fmla="*/ 0 h 10000"/>
                  <a:gd name="connsiteX23" fmla="*/ 7821 w 10000"/>
                  <a:gd name="connsiteY23" fmla="*/ 219 h 10000"/>
                  <a:gd name="connsiteX24" fmla="*/ 7370 w 10000"/>
                  <a:gd name="connsiteY24" fmla="*/ 546 h 10000"/>
                  <a:gd name="connsiteX25" fmla="*/ 6769 w 10000"/>
                  <a:gd name="connsiteY25" fmla="*/ 546 h 10000"/>
                  <a:gd name="connsiteX26" fmla="*/ 5717 w 10000"/>
                  <a:gd name="connsiteY26" fmla="*/ 546 h 10000"/>
                  <a:gd name="connsiteX27" fmla="*/ 5717 w 10000"/>
                  <a:gd name="connsiteY27" fmla="*/ 493 h 10000"/>
                  <a:gd name="connsiteX28" fmla="*/ 5643 w 10000"/>
                  <a:gd name="connsiteY28" fmla="*/ 546 h 10000"/>
                  <a:gd name="connsiteX29" fmla="*/ 1961 w 10000"/>
                  <a:gd name="connsiteY29" fmla="*/ 546 h 10000"/>
                  <a:gd name="connsiteX30" fmla="*/ 1961 w 10000"/>
                  <a:gd name="connsiteY30" fmla="*/ 1694 h 10000"/>
                  <a:gd name="connsiteX31" fmla="*/ 1285 w 10000"/>
                  <a:gd name="connsiteY31" fmla="*/ 1694 h 10000"/>
                  <a:gd name="connsiteX32" fmla="*/ 1285 w 10000"/>
                  <a:gd name="connsiteY32" fmla="*/ 1913 h 10000"/>
                  <a:gd name="connsiteX33" fmla="*/ 1285 w 10000"/>
                  <a:gd name="connsiteY33" fmla="*/ 3878 h 10000"/>
                  <a:gd name="connsiteX34" fmla="*/ 1135 w 10000"/>
                  <a:gd name="connsiteY34" fmla="*/ 3988 h 10000"/>
                  <a:gd name="connsiteX35" fmla="*/ 684 w 10000"/>
                  <a:gd name="connsiteY35" fmla="*/ 4208 h 10000"/>
                  <a:gd name="connsiteX36" fmla="*/ 609 w 10000"/>
                  <a:gd name="connsiteY36" fmla="*/ 4482 h 10000"/>
                  <a:gd name="connsiteX37" fmla="*/ 384 w 10000"/>
                  <a:gd name="connsiteY37" fmla="*/ 4755 h 10000"/>
                  <a:gd name="connsiteX38" fmla="*/ 234 w 10000"/>
                  <a:gd name="connsiteY38" fmla="*/ 5192 h 10000"/>
                  <a:gd name="connsiteX39" fmla="*/ 8 w 10000"/>
                  <a:gd name="connsiteY39" fmla="*/ 5685 h 10000"/>
                  <a:gd name="connsiteX40" fmla="*/ 384 w 10000"/>
                  <a:gd name="connsiteY40" fmla="*/ 5738 h 10000"/>
                  <a:gd name="connsiteX41" fmla="*/ 458 w 10000"/>
                  <a:gd name="connsiteY41" fmla="*/ 6173 h 10000"/>
                  <a:gd name="connsiteX42" fmla="*/ 684 w 10000"/>
                  <a:gd name="connsiteY42" fmla="*/ 6611 h 10000"/>
                  <a:gd name="connsiteX43" fmla="*/ 1059 w 10000"/>
                  <a:gd name="connsiteY43" fmla="*/ 7487 h 10000"/>
                  <a:gd name="connsiteX0" fmla="*/ 8197 w 10000"/>
                  <a:gd name="connsiteY0" fmla="*/ 9837 h 10000"/>
                  <a:gd name="connsiteX1" fmla="*/ 8422 w 10000"/>
                  <a:gd name="connsiteY1" fmla="*/ 10000 h 10000"/>
                  <a:gd name="connsiteX2" fmla="*/ 8272 w 10000"/>
                  <a:gd name="connsiteY2" fmla="*/ 9564 h 10000"/>
                  <a:gd name="connsiteX3" fmla="*/ 7821 w 10000"/>
                  <a:gd name="connsiteY3" fmla="*/ 9071 h 10000"/>
                  <a:gd name="connsiteX4" fmla="*/ 7446 w 10000"/>
                  <a:gd name="connsiteY4" fmla="*/ 7103 h 10000"/>
                  <a:gd name="connsiteX5" fmla="*/ 7446 w 10000"/>
                  <a:gd name="connsiteY5" fmla="*/ 6722 h 10000"/>
                  <a:gd name="connsiteX6" fmla="*/ 7821 w 10000"/>
                  <a:gd name="connsiteY6" fmla="*/ 6722 h 10000"/>
                  <a:gd name="connsiteX7" fmla="*/ 8047 w 10000"/>
                  <a:gd name="connsiteY7" fmla="*/ 6011 h 10000"/>
                  <a:gd name="connsiteX8" fmla="*/ 8648 w 10000"/>
                  <a:gd name="connsiteY8" fmla="*/ 5574 h 10000"/>
                  <a:gd name="connsiteX9" fmla="*/ 8873 w 10000"/>
                  <a:gd name="connsiteY9" fmla="*/ 4755 h 10000"/>
                  <a:gd name="connsiteX10" fmla="*/ 8722 w 10000"/>
                  <a:gd name="connsiteY10" fmla="*/ 4318 h 10000"/>
                  <a:gd name="connsiteX11" fmla="*/ 9098 w 10000"/>
                  <a:gd name="connsiteY11" fmla="*/ 3388 h 10000"/>
                  <a:gd name="connsiteX12" fmla="*/ 9399 w 10000"/>
                  <a:gd name="connsiteY12" fmla="*/ 3114 h 10000"/>
                  <a:gd name="connsiteX13" fmla="*/ 10000 w 10000"/>
                  <a:gd name="connsiteY13" fmla="*/ 2678 h 10000"/>
                  <a:gd name="connsiteX14" fmla="*/ 9774 w 10000"/>
                  <a:gd name="connsiteY14" fmla="*/ 2622 h 10000"/>
                  <a:gd name="connsiteX15" fmla="*/ 9399 w 10000"/>
                  <a:gd name="connsiteY15" fmla="*/ 2351 h 10000"/>
                  <a:gd name="connsiteX16" fmla="*/ 9173 w 10000"/>
                  <a:gd name="connsiteY16" fmla="*/ 1531 h 10000"/>
                  <a:gd name="connsiteX17" fmla="*/ 9173 w 10000"/>
                  <a:gd name="connsiteY17" fmla="*/ 1093 h 10000"/>
                  <a:gd name="connsiteX18" fmla="*/ 9098 w 10000"/>
                  <a:gd name="connsiteY18" fmla="*/ 546 h 10000"/>
                  <a:gd name="connsiteX19" fmla="*/ 8873 w 10000"/>
                  <a:gd name="connsiteY19" fmla="*/ 383 h 10000"/>
                  <a:gd name="connsiteX20" fmla="*/ 8497 w 10000"/>
                  <a:gd name="connsiteY20" fmla="*/ 164 h 10000"/>
                  <a:gd name="connsiteX21" fmla="*/ 8272 w 10000"/>
                  <a:gd name="connsiteY21" fmla="*/ 0 h 10000"/>
                  <a:gd name="connsiteX22" fmla="*/ 7821 w 10000"/>
                  <a:gd name="connsiteY22" fmla="*/ 219 h 10000"/>
                  <a:gd name="connsiteX23" fmla="*/ 7370 w 10000"/>
                  <a:gd name="connsiteY23" fmla="*/ 546 h 10000"/>
                  <a:gd name="connsiteX24" fmla="*/ 6769 w 10000"/>
                  <a:gd name="connsiteY24" fmla="*/ 546 h 10000"/>
                  <a:gd name="connsiteX25" fmla="*/ 5717 w 10000"/>
                  <a:gd name="connsiteY25" fmla="*/ 546 h 10000"/>
                  <a:gd name="connsiteX26" fmla="*/ 5717 w 10000"/>
                  <a:gd name="connsiteY26" fmla="*/ 493 h 10000"/>
                  <a:gd name="connsiteX27" fmla="*/ 5643 w 10000"/>
                  <a:gd name="connsiteY27" fmla="*/ 546 h 10000"/>
                  <a:gd name="connsiteX28" fmla="*/ 1961 w 10000"/>
                  <a:gd name="connsiteY28" fmla="*/ 546 h 10000"/>
                  <a:gd name="connsiteX29" fmla="*/ 1961 w 10000"/>
                  <a:gd name="connsiteY29" fmla="*/ 1694 h 10000"/>
                  <a:gd name="connsiteX30" fmla="*/ 1285 w 10000"/>
                  <a:gd name="connsiteY30" fmla="*/ 1694 h 10000"/>
                  <a:gd name="connsiteX31" fmla="*/ 1285 w 10000"/>
                  <a:gd name="connsiteY31" fmla="*/ 1913 h 10000"/>
                  <a:gd name="connsiteX32" fmla="*/ 1285 w 10000"/>
                  <a:gd name="connsiteY32" fmla="*/ 3878 h 10000"/>
                  <a:gd name="connsiteX33" fmla="*/ 1135 w 10000"/>
                  <a:gd name="connsiteY33" fmla="*/ 3988 h 10000"/>
                  <a:gd name="connsiteX34" fmla="*/ 684 w 10000"/>
                  <a:gd name="connsiteY34" fmla="*/ 4208 h 10000"/>
                  <a:gd name="connsiteX35" fmla="*/ 609 w 10000"/>
                  <a:gd name="connsiteY35" fmla="*/ 4482 h 10000"/>
                  <a:gd name="connsiteX36" fmla="*/ 384 w 10000"/>
                  <a:gd name="connsiteY36" fmla="*/ 4755 h 10000"/>
                  <a:gd name="connsiteX37" fmla="*/ 234 w 10000"/>
                  <a:gd name="connsiteY37" fmla="*/ 5192 h 10000"/>
                  <a:gd name="connsiteX38" fmla="*/ 8 w 10000"/>
                  <a:gd name="connsiteY38" fmla="*/ 5685 h 10000"/>
                  <a:gd name="connsiteX39" fmla="*/ 384 w 10000"/>
                  <a:gd name="connsiteY39" fmla="*/ 5738 h 10000"/>
                  <a:gd name="connsiteX40" fmla="*/ 458 w 10000"/>
                  <a:gd name="connsiteY40" fmla="*/ 6173 h 10000"/>
                  <a:gd name="connsiteX41" fmla="*/ 684 w 10000"/>
                  <a:gd name="connsiteY41" fmla="*/ 6611 h 10000"/>
                  <a:gd name="connsiteX42" fmla="*/ 1059 w 10000"/>
                  <a:gd name="connsiteY42" fmla="*/ 7487 h 10000"/>
                  <a:gd name="connsiteX0" fmla="*/ 8197 w 10000"/>
                  <a:gd name="connsiteY0" fmla="*/ 9837 h 10000"/>
                  <a:gd name="connsiteX1" fmla="*/ 8422 w 10000"/>
                  <a:gd name="connsiteY1" fmla="*/ 10000 h 10000"/>
                  <a:gd name="connsiteX2" fmla="*/ 8272 w 10000"/>
                  <a:gd name="connsiteY2" fmla="*/ 9564 h 10000"/>
                  <a:gd name="connsiteX3" fmla="*/ 7446 w 10000"/>
                  <a:gd name="connsiteY3" fmla="*/ 7103 h 10000"/>
                  <a:gd name="connsiteX4" fmla="*/ 7446 w 10000"/>
                  <a:gd name="connsiteY4" fmla="*/ 6722 h 10000"/>
                  <a:gd name="connsiteX5" fmla="*/ 7821 w 10000"/>
                  <a:gd name="connsiteY5" fmla="*/ 6722 h 10000"/>
                  <a:gd name="connsiteX6" fmla="*/ 8047 w 10000"/>
                  <a:gd name="connsiteY6" fmla="*/ 6011 h 10000"/>
                  <a:gd name="connsiteX7" fmla="*/ 8648 w 10000"/>
                  <a:gd name="connsiteY7" fmla="*/ 5574 h 10000"/>
                  <a:gd name="connsiteX8" fmla="*/ 8873 w 10000"/>
                  <a:gd name="connsiteY8" fmla="*/ 4755 h 10000"/>
                  <a:gd name="connsiteX9" fmla="*/ 8722 w 10000"/>
                  <a:gd name="connsiteY9" fmla="*/ 4318 h 10000"/>
                  <a:gd name="connsiteX10" fmla="*/ 9098 w 10000"/>
                  <a:gd name="connsiteY10" fmla="*/ 3388 h 10000"/>
                  <a:gd name="connsiteX11" fmla="*/ 9399 w 10000"/>
                  <a:gd name="connsiteY11" fmla="*/ 3114 h 10000"/>
                  <a:gd name="connsiteX12" fmla="*/ 10000 w 10000"/>
                  <a:gd name="connsiteY12" fmla="*/ 2678 h 10000"/>
                  <a:gd name="connsiteX13" fmla="*/ 9774 w 10000"/>
                  <a:gd name="connsiteY13" fmla="*/ 2622 h 10000"/>
                  <a:gd name="connsiteX14" fmla="*/ 9399 w 10000"/>
                  <a:gd name="connsiteY14" fmla="*/ 2351 h 10000"/>
                  <a:gd name="connsiteX15" fmla="*/ 9173 w 10000"/>
                  <a:gd name="connsiteY15" fmla="*/ 1531 h 10000"/>
                  <a:gd name="connsiteX16" fmla="*/ 9173 w 10000"/>
                  <a:gd name="connsiteY16" fmla="*/ 1093 h 10000"/>
                  <a:gd name="connsiteX17" fmla="*/ 9098 w 10000"/>
                  <a:gd name="connsiteY17" fmla="*/ 546 h 10000"/>
                  <a:gd name="connsiteX18" fmla="*/ 8873 w 10000"/>
                  <a:gd name="connsiteY18" fmla="*/ 383 h 10000"/>
                  <a:gd name="connsiteX19" fmla="*/ 8497 w 10000"/>
                  <a:gd name="connsiteY19" fmla="*/ 164 h 10000"/>
                  <a:gd name="connsiteX20" fmla="*/ 8272 w 10000"/>
                  <a:gd name="connsiteY20" fmla="*/ 0 h 10000"/>
                  <a:gd name="connsiteX21" fmla="*/ 7821 w 10000"/>
                  <a:gd name="connsiteY21" fmla="*/ 219 h 10000"/>
                  <a:gd name="connsiteX22" fmla="*/ 7370 w 10000"/>
                  <a:gd name="connsiteY22" fmla="*/ 546 h 10000"/>
                  <a:gd name="connsiteX23" fmla="*/ 6769 w 10000"/>
                  <a:gd name="connsiteY23" fmla="*/ 546 h 10000"/>
                  <a:gd name="connsiteX24" fmla="*/ 5717 w 10000"/>
                  <a:gd name="connsiteY24" fmla="*/ 546 h 10000"/>
                  <a:gd name="connsiteX25" fmla="*/ 5717 w 10000"/>
                  <a:gd name="connsiteY25" fmla="*/ 493 h 10000"/>
                  <a:gd name="connsiteX26" fmla="*/ 5643 w 10000"/>
                  <a:gd name="connsiteY26" fmla="*/ 546 h 10000"/>
                  <a:gd name="connsiteX27" fmla="*/ 1961 w 10000"/>
                  <a:gd name="connsiteY27" fmla="*/ 546 h 10000"/>
                  <a:gd name="connsiteX28" fmla="*/ 1961 w 10000"/>
                  <a:gd name="connsiteY28" fmla="*/ 1694 h 10000"/>
                  <a:gd name="connsiteX29" fmla="*/ 1285 w 10000"/>
                  <a:gd name="connsiteY29" fmla="*/ 1694 h 10000"/>
                  <a:gd name="connsiteX30" fmla="*/ 1285 w 10000"/>
                  <a:gd name="connsiteY30" fmla="*/ 1913 h 10000"/>
                  <a:gd name="connsiteX31" fmla="*/ 1285 w 10000"/>
                  <a:gd name="connsiteY31" fmla="*/ 3878 h 10000"/>
                  <a:gd name="connsiteX32" fmla="*/ 1135 w 10000"/>
                  <a:gd name="connsiteY32" fmla="*/ 3988 h 10000"/>
                  <a:gd name="connsiteX33" fmla="*/ 684 w 10000"/>
                  <a:gd name="connsiteY33" fmla="*/ 4208 h 10000"/>
                  <a:gd name="connsiteX34" fmla="*/ 609 w 10000"/>
                  <a:gd name="connsiteY34" fmla="*/ 4482 h 10000"/>
                  <a:gd name="connsiteX35" fmla="*/ 384 w 10000"/>
                  <a:gd name="connsiteY35" fmla="*/ 4755 h 10000"/>
                  <a:gd name="connsiteX36" fmla="*/ 234 w 10000"/>
                  <a:gd name="connsiteY36" fmla="*/ 5192 h 10000"/>
                  <a:gd name="connsiteX37" fmla="*/ 8 w 10000"/>
                  <a:gd name="connsiteY37" fmla="*/ 5685 h 10000"/>
                  <a:gd name="connsiteX38" fmla="*/ 384 w 10000"/>
                  <a:gd name="connsiteY38" fmla="*/ 5738 h 10000"/>
                  <a:gd name="connsiteX39" fmla="*/ 458 w 10000"/>
                  <a:gd name="connsiteY39" fmla="*/ 6173 h 10000"/>
                  <a:gd name="connsiteX40" fmla="*/ 684 w 10000"/>
                  <a:gd name="connsiteY40" fmla="*/ 6611 h 10000"/>
                  <a:gd name="connsiteX41" fmla="*/ 1059 w 10000"/>
                  <a:gd name="connsiteY41" fmla="*/ 7487 h 10000"/>
                  <a:gd name="connsiteX0" fmla="*/ 8197 w 10000"/>
                  <a:gd name="connsiteY0" fmla="*/ 9837 h 10000"/>
                  <a:gd name="connsiteX1" fmla="*/ 8422 w 10000"/>
                  <a:gd name="connsiteY1" fmla="*/ 10000 h 10000"/>
                  <a:gd name="connsiteX2" fmla="*/ 7446 w 10000"/>
                  <a:gd name="connsiteY2" fmla="*/ 7103 h 10000"/>
                  <a:gd name="connsiteX3" fmla="*/ 7446 w 10000"/>
                  <a:gd name="connsiteY3" fmla="*/ 6722 h 10000"/>
                  <a:gd name="connsiteX4" fmla="*/ 7821 w 10000"/>
                  <a:gd name="connsiteY4" fmla="*/ 6722 h 10000"/>
                  <a:gd name="connsiteX5" fmla="*/ 8047 w 10000"/>
                  <a:gd name="connsiteY5" fmla="*/ 6011 h 10000"/>
                  <a:gd name="connsiteX6" fmla="*/ 8648 w 10000"/>
                  <a:gd name="connsiteY6" fmla="*/ 5574 h 10000"/>
                  <a:gd name="connsiteX7" fmla="*/ 8873 w 10000"/>
                  <a:gd name="connsiteY7" fmla="*/ 4755 h 10000"/>
                  <a:gd name="connsiteX8" fmla="*/ 8722 w 10000"/>
                  <a:gd name="connsiteY8" fmla="*/ 4318 h 10000"/>
                  <a:gd name="connsiteX9" fmla="*/ 9098 w 10000"/>
                  <a:gd name="connsiteY9" fmla="*/ 3388 h 10000"/>
                  <a:gd name="connsiteX10" fmla="*/ 9399 w 10000"/>
                  <a:gd name="connsiteY10" fmla="*/ 3114 h 10000"/>
                  <a:gd name="connsiteX11" fmla="*/ 10000 w 10000"/>
                  <a:gd name="connsiteY11" fmla="*/ 2678 h 10000"/>
                  <a:gd name="connsiteX12" fmla="*/ 9774 w 10000"/>
                  <a:gd name="connsiteY12" fmla="*/ 2622 h 10000"/>
                  <a:gd name="connsiteX13" fmla="*/ 9399 w 10000"/>
                  <a:gd name="connsiteY13" fmla="*/ 2351 h 10000"/>
                  <a:gd name="connsiteX14" fmla="*/ 9173 w 10000"/>
                  <a:gd name="connsiteY14" fmla="*/ 1531 h 10000"/>
                  <a:gd name="connsiteX15" fmla="*/ 9173 w 10000"/>
                  <a:gd name="connsiteY15" fmla="*/ 1093 h 10000"/>
                  <a:gd name="connsiteX16" fmla="*/ 9098 w 10000"/>
                  <a:gd name="connsiteY16" fmla="*/ 546 h 10000"/>
                  <a:gd name="connsiteX17" fmla="*/ 8873 w 10000"/>
                  <a:gd name="connsiteY17" fmla="*/ 383 h 10000"/>
                  <a:gd name="connsiteX18" fmla="*/ 8497 w 10000"/>
                  <a:gd name="connsiteY18" fmla="*/ 164 h 10000"/>
                  <a:gd name="connsiteX19" fmla="*/ 8272 w 10000"/>
                  <a:gd name="connsiteY19" fmla="*/ 0 h 10000"/>
                  <a:gd name="connsiteX20" fmla="*/ 7821 w 10000"/>
                  <a:gd name="connsiteY20" fmla="*/ 219 h 10000"/>
                  <a:gd name="connsiteX21" fmla="*/ 7370 w 10000"/>
                  <a:gd name="connsiteY21" fmla="*/ 546 h 10000"/>
                  <a:gd name="connsiteX22" fmla="*/ 6769 w 10000"/>
                  <a:gd name="connsiteY22" fmla="*/ 546 h 10000"/>
                  <a:gd name="connsiteX23" fmla="*/ 5717 w 10000"/>
                  <a:gd name="connsiteY23" fmla="*/ 546 h 10000"/>
                  <a:gd name="connsiteX24" fmla="*/ 5717 w 10000"/>
                  <a:gd name="connsiteY24" fmla="*/ 493 h 10000"/>
                  <a:gd name="connsiteX25" fmla="*/ 5643 w 10000"/>
                  <a:gd name="connsiteY25" fmla="*/ 546 h 10000"/>
                  <a:gd name="connsiteX26" fmla="*/ 1961 w 10000"/>
                  <a:gd name="connsiteY26" fmla="*/ 546 h 10000"/>
                  <a:gd name="connsiteX27" fmla="*/ 1961 w 10000"/>
                  <a:gd name="connsiteY27" fmla="*/ 1694 h 10000"/>
                  <a:gd name="connsiteX28" fmla="*/ 1285 w 10000"/>
                  <a:gd name="connsiteY28" fmla="*/ 1694 h 10000"/>
                  <a:gd name="connsiteX29" fmla="*/ 1285 w 10000"/>
                  <a:gd name="connsiteY29" fmla="*/ 1913 h 10000"/>
                  <a:gd name="connsiteX30" fmla="*/ 1285 w 10000"/>
                  <a:gd name="connsiteY30" fmla="*/ 3878 h 10000"/>
                  <a:gd name="connsiteX31" fmla="*/ 1135 w 10000"/>
                  <a:gd name="connsiteY31" fmla="*/ 3988 h 10000"/>
                  <a:gd name="connsiteX32" fmla="*/ 684 w 10000"/>
                  <a:gd name="connsiteY32" fmla="*/ 4208 h 10000"/>
                  <a:gd name="connsiteX33" fmla="*/ 609 w 10000"/>
                  <a:gd name="connsiteY33" fmla="*/ 4482 h 10000"/>
                  <a:gd name="connsiteX34" fmla="*/ 384 w 10000"/>
                  <a:gd name="connsiteY34" fmla="*/ 4755 h 10000"/>
                  <a:gd name="connsiteX35" fmla="*/ 234 w 10000"/>
                  <a:gd name="connsiteY35" fmla="*/ 5192 h 10000"/>
                  <a:gd name="connsiteX36" fmla="*/ 8 w 10000"/>
                  <a:gd name="connsiteY36" fmla="*/ 5685 h 10000"/>
                  <a:gd name="connsiteX37" fmla="*/ 384 w 10000"/>
                  <a:gd name="connsiteY37" fmla="*/ 5738 h 10000"/>
                  <a:gd name="connsiteX38" fmla="*/ 458 w 10000"/>
                  <a:gd name="connsiteY38" fmla="*/ 6173 h 10000"/>
                  <a:gd name="connsiteX39" fmla="*/ 684 w 10000"/>
                  <a:gd name="connsiteY39" fmla="*/ 6611 h 10000"/>
                  <a:gd name="connsiteX40" fmla="*/ 1059 w 10000"/>
                  <a:gd name="connsiteY40" fmla="*/ 7487 h 10000"/>
                  <a:gd name="connsiteX0" fmla="*/ 8197 w 10000"/>
                  <a:gd name="connsiteY0" fmla="*/ 9837 h 9837"/>
                  <a:gd name="connsiteX1" fmla="*/ 7446 w 10000"/>
                  <a:gd name="connsiteY1" fmla="*/ 7103 h 9837"/>
                  <a:gd name="connsiteX2" fmla="*/ 7446 w 10000"/>
                  <a:gd name="connsiteY2" fmla="*/ 6722 h 9837"/>
                  <a:gd name="connsiteX3" fmla="*/ 7821 w 10000"/>
                  <a:gd name="connsiteY3" fmla="*/ 6722 h 9837"/>
                  <a:gd name="connsiteX4" fmla="*/ 8047 w 10000"/>
                  <a:gd name="connsiteY4" fmla="*/ 6011 h 9837"/>
                  <a:gd name="connsiteX5" fmla="*/ 8648 w 10000"/>
                  <a:gd name="connsiteY5" fmla="*/ 5574 h 9837"/>
                  <a:gd name="connsiteX6" fmla="*/ 8873 w 10000"/>
                  <a:gd name="connsiteY6" fmla="*/ 4755 h 9837"/>
                  <a:gd name="connsiteX7" fmla="*/ 8722 w 10000"/>
                  <a:gd name="connsiteY7" fmla="*/ 4318 h 9837"/>
                  <a:gd name="connsiteX8" fmla="*/ 9098 w 10000"/>
                  <a:gd name="connsiteY8" fmla="*/ 3388 h 9837"/>
                  <a:gd name="connsiteX9" fmla="*/ 9399 w 10000"/>
                  <a:gd name="connsiteY9" fmla="*/ 3114 h 9837"/>
                  <a:gd name="connsiteX10" fmla="*/ 10000 w 10000"/>
                  <a:gd name="connsiteY10" fmla="*/ 2678 h 9837"/>
                  <a:gd name="connsiteX11" fmla="*/ 9774 w 10000"/>
                  <a:gd name="connsiteY11" fmla="*/ 2622 h 9837"/>
                  <a:gd name="connsiteX12" fmla="*/ 9399 w 10000"/>
                  <a:gd name="connsiteY12" fmla="*/ 2351 h 9837"/>
                  <a:gd name="connsiteX13" fmla="*/ 9173 w 10000"/>
                  <a:gd name="connsiteY13" fmla="*/ 1531 h 9837"/>
                  <a:gd name="connsiteX14" fmla="*/ 9173 w 10000"/>
                  <a:gd name="connsiteY14" fmla="*/ 1093 h 9837"/>
                  <a:gd name="connsiteX15" fmla="*/ 9098 w 10000"/>
                  <a:gd name="connsiteY15" fmla="*/ 546 h 9837"/>
                  <a:gd name="connsiteX16" fmla="*/ 8873 w 10000"/>
                  <a:gd name="connsiteY16" fmla="*/ 383 h 9837"/>
                  <a:gd name="connsiteX17" fmla="*/ 8497 w 10000"/>
                  <a:gd name="connsiteY17" fmla="*/ 164 h 9837"/>
                  <a:gd name="connsiteX18" fmla="*/ 8272 w 10000"/>
                  <a:gd name="connsiteY18" fmla="*/ 0 h 9837"/>
                  <a:gd name="connsiteX19" fmla="*/ 7821 w 10000"/>
                  <a:gd name="connsiteY19" fmla="*/ 219 h 9837"/>
                  <a:gd name="connsiteX20" fmla="*/ 7370 w 10000"/>
                  <a:gd name="connsiteY20" fmla="*/ 546 h 9837"/>
                  <a:gd name="connsiteX21" fmla="*/ 6769 w 10000"/>
                  <a:gd name="connsiteY21" fmla="*/ 546 h 9837"/>
                  <a:gd name="connsiteX22" fmla="*/ 5717 w 10000"/>
                  <a:gd name="connsiteY22" fmla="*/ 546 h 9837"/>
                  <a:gd name="connsiteX23" fmla="*/ 5717 w 10000"/>
                  <a:gd name="connsiteY23" fmla="*/ 493 h 9837"/>
                  <a:gd name="connsiteX24" fmla="*/ 5643 w 10000"/>
                  <a:gd name="connsiteY24" fmla="*/ 546 h 9837"/>
                  <a:gd name="connsiteX25" fmla="*/ 1961 w 10000"/>
                  <a:gd name="connsiteY25" fmla="*/ 546 h 9837"/>
                  <a:gd name="connsiteX26" fmla="*/ 1961 w 10000"/>
                  <a:gd name="connsiteY26" fmla="*/ 1694 h 9837"/>
                  <a:gd name="connsiteX27" fmla="*/ 1285 w 10000"/>
                  <a:gd name="connsiteY27" fmla="*/ 1694 h 9837"/>
                  <a:gd name="connsiteX28" fmla="*/ 1285 w 10000"/>
                  <a:gd name="connsiteY28" fmla="*/ 1913 h 9837"/>
                  <a:gd name="connsiteX29" fmla="*/ 1285 w 10000"/>
                  <a:gd name="connsiteY29" fmla="*/ 3878 h 9837"/>
                  <a:gd name="connsiteX30" fmla="*/ 1135 w 10000"/>
                  <a:gd name="connsiteY30" fmla="*/ 3988 h 9837"/>
                  <a:gd name="connsiteX31" fmla="*/ 684 w 10000"/>
                  <a:gd name="connsiteY31" fmla="*/ 4208 h 9837"/>
                  <a:gd name="connsiteX32" fmla="*/ 609 w 10000"/>
                  <a:gd name="connsiteY32" fmla="*/ 4482 h 9837"/>
                  <a:gd name="connsiteX33" fmla="*/ 384 w 10000"/>
                  <a:gd name="connsiteY33" fmla="*/ 4755 h 9837"/>
                  <a:gd name="connsiteX34" fmla="*/ 234 w 10000"/>
                  <a:gd name="connsiteY34" fmla="*/ 5192 h 9837"/>
                  <a:gd name="connsiteX35" fmla="*/ 8 w 10000"/>
                  <a:gd name="connsiteY35" fmla="*/ 5685 h 9837"/>
                  <a:gd name="connsiteX36" fmla="*/ 384 w 10000"/>
                  <a:gd name="connsiteY36" fmla="*/ 5738 h 9837"/>
                  <a:gd name="connsiteX37" fmla="*/ 458 w 10000"/>
                  <a:gd name="connsiteY37" fmla="*/ 6173 h 9837"/>
                  <a:gd name="connsiteX38" fmla="*/ 684 w 10000"/>
                  <a:gd name="connsiteY38" fmla="*/ 6611 h 9837"/>
                  <a:gd name="connsiteX39" fmla="*/ 1059 w 10000"/>
                  <a:gd name="connsiteY39" fmla="*/ 7487 h 9837"/>
                  <a:gd name="connsiteX0" fmla="*/ 7446 w 10000"/>
                  <a:gd name="connsiteY0" fmla="*/ 7221 h 7611"/>
                  <a:gd name="connsiteX1" fmla="*/ 7446 w 10000"/>
                  <a:gd name="connsiteY1" fmla="*/ 6833 h 7611"/>
                  <a:gd name="connsiteX2" fmla="*/ 7821 w 10000"/>
                  <a:gd name="connsiteY2" fmla="*/ 6833 h 7611"/>
                  <a:gd name="connsiteX3" fmla="*/ 8047 w 10000"/>
                  <a:gd name="connsiteY3" fmla="*/ 6111 h 7611"/>
                  <a:gd name="connsiteX4" fmla="*/ 8648 w 10000"/>
                  <a:gd name="connsiteY4" fmla="*/ 5666 h 7611"/>
                  <a:gd name="connsiteX5" fmla="*/ 8873 w 10000"/>
                  <a:gd name="connsiteY5" fmla="*/ 4834 h 7611"/>
                  <a:gd name="connsiteX6" fmla="*/ 8722 w 10000"/>
                  <a:gd name="connsiteY6" fmla="*/ 4390 h 7611"/>
                  <a:gd name="connsiteX7" fmla="*/ 9098 w 10000"/>
                  <a:gd name="connsiteY7" fmla="*/ 3444 h 7611"/>
                  <a:gd name="connsiteX8" fmla="*/ 9399 w 10000"/>
                  <a:gd name="connsiteY8" fmla="*/ 3166 h 7611"/>
                  <a:gd name="connsiteX9" fmla="*/ 10000 w 10000"/>
                  <a:gd name="connsiteY9" fmla="*/ 2722 h 7611"/>
                  <a:gd name="connsiteX10" fmla="*/ 9774 w 10000"/>
                  <a:gd name="connsiteY10" fmla="*/ 2665 h 7611"/>
                  <a:gd name="connsiteX11" fmla="*/ 9399 w 10000"/>
                  <a:gd name="connsiteY11" fmla="*/ 2390 h 7611"/>
                  <a:gd name="connsiteX12" fmla="*/ 9173 w 10000"/>
                  <a:gd name="connsiteY12" fmla="*/ 1556 h 7611"/>
                  <a:gd name="connsiteX13" fmla="*/ 9173 w 10000"/>
                  <a:gd name="connsiteY13" fmla="*/ 1111 h 7611"/>
                  <a:gd name="connsiteX14" fmla="*/ 9098 w 10000"/>
                  <a:gd name="connsiteY14" fmla="*/ 555 h 7611"/>
                  <a:gd name="connsiteX15" fmla="*/ 8873 w 10000"/>
                  <a:gd name="connsiteY15" fmla="*/ 389 h 7611"/>
                  <a:gd name="connsiteX16" fmla="*/ 8497 w 10000"/>
                  <a:gd name="connsiteY16" fmla="*/ 167 h 7611"/>
                  <a:gd name="connsiteX17" fmla="*/ 8272 w 10000"/>
                  <a:gd name="connsiteY17" fmla="*/ 0 h 7611"/>
                  <a:gd name="connsiteX18" fmla="*/ 7821 w 10000"/>
                  <a:gd name="connsiteY18" fmla="*/ 223 h 7611"/>
                  <a:gd name="connsiteX19" fmla="*/ 7370 w 10000"/>
                  <a:gd name="connsiteY19" fmla="*/ 555 h 7611"/>
                  <a:gd name="connsiteX20" fmla="*/ 6769 w 10000"/>
                  <a:gd name="connsiteY20" fmla="*/ 555 h 7611"/>
                  <a:gd name="connsiteX21" fmla="*/ 5717 w 10000"/>
                  <a:gd name="connsiteY21" fmla="*/ 555 h 7611"/>
                  <a:gd name="connsiteX22" fmla="*/ 5717 w 10000"/>
                  <a:gd name="connsiteY22" fmla="*/ 501 h 7611"/>
                  <a:gd name="connsiteX23" fmla="*/ 5643 w 10000"/>
                  <a:gd name="connsiteY23" fmla="*/ 555 h 7611"/>
                  <a:gd name="connsiteX24" fmla="*/ 1961 w 10000"/>
                  <a:gd name="connsiteY24" fmla="*/ 555 h 7611"/>
                  <a:gd name="connsiteX25" fmla="*/ 1961 w 10000"/>
                  <a:gd name="connsiteY25" fmla="*/ 1722 h 7611"/>
                  <a:gd name="connsiteX26" fmla="*/ 1285 w 10000"/>
                  <a:gd name="connsiteY26" fmla="*/ 1722 h 7611"/>
                  <a:gd name="connsiteX27" fmla="*/ 1285 w 10000"/>
                  <a:gd name="connsiteY27" fmla="*/ 1945 h 7611"/>
                  <a:gd name="connsiteX28" fmla="*/ 1285 w 10000"/>
                  <a:gd name="connsiteY28" fmla="*/ 3942 h 7611"/>
                  <a:gd name="connsiteX29" fmla="*/ 1135 w 10000"/>
                  <a:gd name="connsiteY29" fmla="*/ 4054 h 7611"/>
                  <a:gd name="connsiteX30" fmla="*/ 684 w 10000"/>
                  <a:gd name="connsiteY30" fmla="*/ 4278 h 7611"/>
                  <a:gd name="connsiteX31" fmla="*/ 609 w 10000"/>
                  <a:gd name="connsiteY31" fmla="*/ 4556 h 7611"/>
                  <a:gd name="connsiteX32" fmla="*/ 384 w 10000"/>
                  <a:gd name="connsiteY32" fmla="*/ 4834 h 7611"/>
                  <a:gd name="connsiteX33" fmla="*/ 234 w 10000"/>
                  <a:gd name="connsiteY33" fmla="*/ 5278 h 7611"/>
                  <a:gd name="connsiteX34" fmla="*/ 8 w 10000"/>
                  <a:gd name="connsiteY34" fmla="*/ 5779 h 7611"/>
                  <a:gd name="connsiteX35" fmla="*/ 384 w 10000"/>
                  <a:gd name="connsiteY35" fmla="*/ 5833 h 7611"/>
                  <a:gd name="connsiteX36" fmla="*/ 458 w 10000"/>
                  <a:gd name="connsiteY36" fmla="*/ 6275 h 7611"/>
                  <a:gd name="connsiteX37" fmla="*/ 684 w 10000"/>
                  <a:gd name="connsiteY37" fmla="*/ 6721 h 7611"/>
                  <a:gd name="connsiteX38" fmla="*/ 1059 w 10000"/>
                  <a:gd name="connsiteY38" fmla="*/ 7611 h 7611"/>
                  <a:gd name="connsiteX0" fmla="*/ 7446 w 10000"/>
                  <a:gd name="connsiteY0" fmla="*/ 9488 h 10068"/>
                  <a:gd name="connsiteX1" fmla="*/ 7446 w 10000"/>
                  <a:gd name="connsiteY1" fmla="*/ 8978 h 10068"/>
                  <a:gd name="connsiteX2" fmla="*/ 7821 w 10000"/>
                  <a:gd name="connsiteY2" fmla="*/ 8978 h 10068"/>
                  <a:gd name="connsiteX3" fmla="*/ 8047 w 10000"/>
                  <a:gd name="connsiteY3" fmla="*/ 8029 h 10068"/>
                  <a:gd name="connsiteX4" fmla="*/ 8648 w 10000"/>
                  <a:gd name="connsiteY4" fmla="*/ 7444 h 10068"/>
                  <a:gd name="connsiteX5" fmla="*/ 8873 w 10000"/>
                  <a:gd name="connsiteY5" fmla="*/ 6351 h 10068"/>
                  <a:gd name="connsiteX6" fmla="*/ 8722 w 10000"/>
                  <a:gd name="connsiteY6" fmla="*/ 5768 h 10068"/>
                  <a:gd name="connsiteX7" fmla="*/ 9098 w 10000"/>
                  <a:gd name="connsiteY7" fmla="*/ 4525 h 10068"/>
                  <a:gd name="connsiteX8" fmla="*/ 9399 w 10000"/>
                  <a:gd name="connsiteY8" fmla="*/ 4160 h 10068"/>
                  <a:gd name="connsiteX9" fmla="*/ 10000 w 10000"/>
                  <a:gd name="connsiteY9" fmla="*/ 3576 h 10068"/>
                  <a:gd name="connsiteX10" fmla="*/ 9774 w 10000"/>
                  <a:gd name="connsiteY10" fmla="*/ 3502 h 10068"/>
                  <a:gd name="connsiteX11" fmla="*/ 9399 w 10000"/>
                  <a:gd name="connsiteY11" fmla="*/ 3140 h 10068"/>
                  <a:gd name="connsiteX12" fmla="*/ 9173 w 10000"/>
                  <a:gd name="connsiteY12" fmla="*/ 2044 h 10068"/>
                  <a:gd name="connsiteX13" fmla="*/ 9173 w 10000"/>
                  <a:gd name="connsiteY13" fmla="*/ 1460 h 10068"/>
                  <a:gd name="connsiteX14" fmla="*/ 9098 w 10000"/>
                  <a:gd name="connsiteY14" fmla="*/ 729 h 10068"/>
                  <a:gd name="connsiteX15" fmla="*/ 8873 w 10000"/>
                  <a:gd name="connsiteY15" fmla="*/ 511 h 10068"/>
                  <a:gd name="connsiteX16" fmla="*/ 8497 w 10000"/>
                  <a:gd name="connsiteY16" fmla="*/ 219 h 10068"/>
                  <a:gd name="connsiteX17" fmla="*/ 8272 w 10000"/>
                  <a:gd name="connsiteY17" fmla="*/ 0 h 10068"/>
                  <a:gd name="connsiteX18" fmla="*/ 7821 w 10000"/>
                  <a:gd name="connsiteY18" fmla="*/ 293 h 10068"/>
                  <a:gd name="connsiteX19" fmla="*/ 7370 w 10000"/>
                  <a:gd name="connsiteY19" fmla="*/ 729 h 10068"/>
                  <a:gd name="connsiteX20" fmla="*/ 6769 w 10000"/>
                  <a:gd name="connsiteY20" fmla="*/ 729 h 10068"/>
                  <a:gd name="connsiteX21" fmla="*/ 5717 w 10000"/>
                  <a:gd name="connsiteY21" fmla="*/ 729 h 10068"/>
                  <a:gd name="connsiteX22" fmla="*/ 5717 w 10000"/>
                  <a:gd name="connsiteY22" fmla="*/ 658 h 10068"/>
                  <a:gd name="connsiteX23" fmla="*/ 5643 w 10000"/>
                  <a:gd name="connsiteY23" fmla="*/ 729 h 10068"/>
                  <a:gd name="connsiteX24" fmla="*/ 1961 w 10000"/>
                  <a:gd name="connsiteY24" fmla="*/ 729 h 10068"/>
                  <a:gd name="connsiteX25" fmla="*/ 1961 w 10000"/>
                  <a:gd name="connsiteY25" fmla="*/ 2263 h 10068"/>
                  <a:gd name="connsiteX26" fmla="*/ 1285 w 10000"/>
                  <a:gd name="connsiteY26" fmla="*/ 2263 h 10068"/>
                  <a:gd name="connsiteX27" fmla="*/ 1285 w 10000"/>
                  <a:gd name="connsiteY27" fmla="*/ 2556 h 10068"/>
                  <a:gd name="connsiteX28" fmla="*/ 1285 w 10000"/>
                  <a:gd name="connsiteY28" fmla="*/ 5179 h 10068"/>
                  <a:gd name="connsiteX29" fmla="*/ 1135 w 10000"/>
                  <a:gd name="connsiteY29" fmla="*/ 5327 h 10068"/>
                  <a:gd name="connsiteX30" fmla="*/ 684 w 10000"/>
                  <a:gd name="connsiteY30" fmla="*/ 5621 h 10068"/>
                  <a:gd name="connsiteX31" fmla="*/ 609 w 10000"/>
                  <a:gd name="connsiteY31" fmla="*/ 5986 h 10068"/>
                  <a:gd name="connsiteX32" fmla="*/ 384 w 10000"/>
                  <a:gd name="connsiteY32" fmla="*/ 6351 h 10068"/>
                  <a:gd name="connsiteX33" fmla="*/ 234 w 10000"/>
                  <a:gd name="connsiteY33" fmla="*/ 6935 h 10068"/>
                  <a:gd name="connsiteX34" fmla="*/ 8 w 10000"/>
                  <a:gd name="connsiteY34" fmla="*/ 7593 h 10068"/>
                  <a:gd name="connsiteX35" fmla="*/ 384 w 10000"/>
                  <a:gd name="connsiteY35" fmla="*/ 7664 h 10068"/>
                  <a:gd name="connsiteX36" fmla="*/ 458 w 10000"/>
                  <a:gd name="connsiteY36" fmla="*/ 8245 h 10068"/>
                  <a:gd name="connsiteX37" fmla="*/ 684 w 10000"/>
                  <a:gd name="connsiteY37" fmla="*/ 8831 h 10068"/>
                  <a:gd name="connsiteX38" fmla="*/ 1059 w 10000"/>
                  <a:gd name="connsiteY38" fmla="*/ 10000 h 10068"/>
                  <a:gd name="connsiteX39" fmla="*/ 1058 w 10000"/>
                  <a:gd name="connsiteY39" fmla="*/ 9928 h 10068"/>
                  <a:gd name="connsiteX0" fmla="*/ 7446 w 10000"/>
                  <a:gd name="connsiteY0" fmla="*/ 9488 h 10035"/>
                  <a:gd name="connsiteX1" fmla="*/ 7446 w 10000"/>
                  <a:gd name="connsiteY1" fmla="*/ 8978 h 10035"/>
                  <a:gd name="connsiteX2" fmla="*/ 7821 w 10000"/>
                  <a:gd name="connsiteY2" fmla="*/ 8978 h 10035"/>
                  <a:gd name="connsiteX3" fmla="*/ 8047 w 10000"/>
                  <a:gd name="connsiteY3" fmla="*/ 8029 h 10035"/>
                  <a:gd name="connsiteX4" fmla="*/ 8648 w 10000"/>
                  <a:gd name="connsiteY4" fmla="*/ 7444 h 10035"/>
                  <a:gd name="connsiteX5" fmla="*/ 8873 w 10000"/>
                  <a:gd name="connsiteY5" fmla="*/ 6351 h 10035"/>
                  <a:gd name="connsiteX6" fmla="*/ 8722 w 10000"/>
                  <a:gd name="connsiteY6" fmla="*/ 5768 h 10035"/>
                  <a:gd name="connsiteX7" fmla="*/ 9098 w 10000"/>
                  <a:gd name="connsiteY7" fmla="*/ 4525 h 10035"/>
                  <a:gd name="connsiteX8" fmla="*/ 9399 w 10000"/>
                  <a:gd name="connsiteY8" fmla="*/ 4160 h 10035"/>
                  <a:gd name="connsiteX9" fmla="*/ 10000 w 10000"/>
                  <a:gd name="connsiteY9" fmla="*/ 3576 h 10035"/>
                  <a:gd name="connsiteX10" fmla="*/ 9774 w 10000"/>
                  <a:gd name="connsiteY10" fmla="*/ 3502 h 10035"/>
                  <a:gd name="connsiteX11" fmla="*/ 9399 w 10000"/>
                  <a:gd name="connsiteY11" fmla="*/ 3140 h 10035"/>
                  <a:gd name="connsiteX12" fmla="*/ 9173 w 10000"/>
                  <a:gd name="connsiteY12" fmla="*/ 2044 h 10035"/>
                  <a:gd name="connsiteX13" fmla="*/ 9173 w 10000"/>
                  <a:gd name="connsiteY13" fmla="*/ 1460 h 10035"/>
                  <a:gd name="connsiteX14" fmla="*/ 9098 w 10000"/>
                  <a:gd name="connsiteY14" fmla="*/ 729 h 10035"/>
                  <a:gd name="connsiteX15" fmla="*/ 8873 w 10000"/>
                  <a:gd name="connsiteY15" fmla="*/ 511 h 10035"/>
                  <a:gd name="connsiteX16" fmla="*/ 8497 w 10000"/>
                  <a:gd name="connsiteY16" fmla="*/ 219 h 10035"/>
                  <a:gd name="connsiteX17" fmla="*/ 8272 w 10000"/>
                  <a:gd name="connsiteY17" fmla="*/ 0 h 10035"/>
                  <a:gd name="connsiteX18" fmla="*/ 7821 w 10000"/>
                  <a:gd name="connsiteY18" fmla="*/ 293 h 10035"/>
                  <a:gd name="connsiteX19" fmla="*/ 7370 w 10000"/>
                  <a:gd name="connsiteY19" fmla="*/ 729 h 10035"/>
                  <a:gd name="connsiteX20" fmla="*/ 6769 w 10000"/>
                  <a:gd name="connsiteY20" fmla="*/ 729 h 10035"/>
                  <a:gd name="connsiteX21" fmla="*/ 5717 w 10000"/>
                  <a:gd name="connsiteY21" fmla="*/ 729 h 10035"/>
                  <a:gd name="connsiteX22" fmla="*/ 5717 w 10000"/>
                  <a:gd name="connsiteY22" fmla="*/ 658 h 10035"/>
                  <a:gd name="connsiteX23" fmla="*/ 5643 w 10000"/>
                  <a:gd name="connsiteY23" fmla="*/ 729 h 10035"/>
                  <a:gd name="connsiteX24" fmla="*/ 1961 w 10000"/>
                  <a:gd name="connsiteY24" fmla="*/ 729 h 10035"/>
                  <a:gd name="connsiteX25" fmla="*/ 1961 w 10000"/>
                  <a:gd name="connsiteY25" fmla="*/ 2263 h 10035"/>
                  <a:gd name="connsiteX26" fmla="*/ 1285 w 10000"/>
                  <a:gd name="connsiteY26" fmla="*/ 2263 h 10035"/>
                  <a:gd name="connsiteX27" fmla="*/ 1285 w 10000"/>
                  <a:gd name="connsiteY27" fmla="*/ 2556 h 10035"/>
                  <a:gd name="connsiteX28" fmla="*/ 1285 w 10000"/>
                  <a:gd name="connsiteY28" fmla="*/ 5179 h 10035"/>
                  <a:gd name="connsiteX29" fmla="*/ 1135 w 10000"/>
                  <a:gd name="connsiteY29" fmla="*/ 5327 h 10035"/>
                  <a:gd name="connsiteX30" fmla="*/ 684 w 10000"/>
                  <a:gd name="connsiteY30" fmla="*/ 5621 h 10035"/>
                  <a:gd name="connsiteX31" fmla="*/ 609 w 10000"/>
                  <a:gd name="connsiteY31" fmla="*/ 5986 h 10035"/>
                  <a:gd name="connsiteX32" fmla="*/ 384 w 10000"/>
                  <a:gd name="connsiteY32" fmla="*/ 6351 h 10035"/>
                  <a:gd name="connsiteX33" fmla="*/ 234 w 10000"/>
                  <a:gd name="connsiteY33" fmla="*/ 6935 h 10035"/>
                  <a:gd name="connsiteX34" fmla="*/ 8 w 10000"/>
                  <a:gd name="connsiteY34" fmla="*/ 7593 h 10035"/>
                  <a:gd name="connsiteX35" fmla="*/ 384 w 10000"/>
                  <a:gd name="connsiteY35" fmla="*/ 7664 h 10035"/>
                  <a:gd name="connsiteX36" fmla="*/ 458 w 10000"/>
                  <a:gd name="connsiteY36" fmla="*/ 8245 h 10035"/>
                  <a:gd name="connsiteX37" fmla="*/ 684 w 10000"/>
                  <a:gd name="connsiteY37" fmla="*/ 8831 h 10035"/>
                  <a:gd name="connsiteX38" fmla="*/ 1059 w 10000"/>
                  <a:gd name="connsiteY38" fmla="*/ 10000 h 10035"/>
                  <a:gd name="connsiteX39" fmla="*/ 1750 w 10000"/>
                  <a:gd name="connsiteY39" fmla="*/ 9592 h 10035"/>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0" fmla="*/ 7446 w 10000"/>
                  <a:gd name="connsiteY0" fmla="*/ 9488 h 10127"/>
                  <a:gd name="connsiteX1" fmla="*/ 7446 w 10000"/>
                  <a:gd name="connsiteY1" fmla="*/ 8978 h 10127"/>
                  <a:gd name="connsiteX2" fmla="*/ 7821 w 10000"/>
                  <a:gd name="connsiteY2" fmla="*/ 8978 h 10127"/>
                  <a:gd name="connsiteX3" fmla="*/ 8047 w 10000"/>
                  <a:gd name="connsiteY3" fmla="*/ 8029 h 10127"/>
                  <a:gd name="connsiteX4" fmla="*/ 8648 w 10000"/>
                  <a:gd name="connsiteY4" fmla="*/ 7444 h 10127"/>
                  <a:gd name="connsiteX5" fmla="*/ 8873 w 10000"/>
                  <a:gd name="connsiteY5" fmla="*/ 6351 h 10127"/>
                  <a:gd name="connsiteX6" fmla="*/ 8722 w 10000"/>
                  <a:gd name="connsiteY6" fmla="*/ 5768 h 10127"/>
                  <a:gd name="connsiteX7" fmla="*/ 9098 w 10000"/>
                  <a:gd name="connsiteY7" fmla="*/ 4525 h 10127"/>
                  <a:gd name="connsiteX8" fmla="*/ 9399 w 10000"/>
                  <a:gd name="connsiteY8" fmla="*/ 4160 h 10127"/>
                  <a:gd name="connsiteX9" fmla="*/ 10000 w 10000"/>
                  <a:gd name="connsiteY9" fmla="*/ 3576 h 10127"/>
                  <a:gd name="connsiteX10" fmla="*/ 9774 w 10000"/>
                  <a:gd name="connsiteY10" fmla="*/ 3502 h 10127"/>
                  <a:gd name="connsiteX11" fmla="*/ 9399 w 10000"/>
                  <a:gd name="connsiteY11" fmla="*/ 3140 h 10127"/>
                  <a:gd name="connsiteX12" fmla="*/ 9173 w 10000"/>
                  <a:gd name="connsiteY12" fmla="*/ 2044 h 10127"/>
                  <a:gd name="connsiteX13" fmla="*/ 9173 w 10000"/>
                  <a:gd name="connsiteY13" fmla="*/ 1460 h 10127"/>
                  <a:gd name="connsiteX14" fmla="*/ 9098 w 10000"/>
                  <a:gd name="connsiteY14" fmla="*/ 729 h 10127"/>
                  <a:gd name="connsiteX15" fmla="*/ 8873 w 10000"/>
                  <a:gd name="connsiteY15" fmla="*/ 511 h 10127"/>
                  <a:gd name="connsiteX16" fmla="*/ 8497 w 10000"/>
                  <a:gd name="connsiteY16" fmla="*/ 219 h 10127"/>
                  <a:gd name="connsiteX17" fmla="*/ 8272 w 10000"/>
                  <a:gd name="connsiteY17" fmla="*/ 0 h 10127"/>
                  <a:gd name="connsiteX18" fmla="*/ 7821 w 10000"/>
                  <a:gd name="connsiteY18" fmla="*/ 293 h 10127"/>
                  <a:gd name="connsiteX19" fmla="*/ 7370 w 10000"/>
                  <a:gd name="connsiteY19" fmla="*/ 729 h 10127"/>
                  <a:gd name="connsiteX20" fmla="*/ 6769 w 10000"/>
                  <a:gd name="connsiteY20" fmla="*/ 729 h 10127"/>
                  <a:gd name="connsiteX21" fmla="*/ 5717 w 10000"/>
                  <a:gd name="connsiteY21" fmla="*/ 729 h 10127"/>
                  <a:gd name="connsiteX22" fmla="*/ 5717 w 10000"/>
                  <a:gd name="connsiteY22" fmla="*/ 658 h 10127"/>
                  <a:gd name="connsiteX23" fmla="*/ 5643 w 10000"/>
                  <a:gd name="connsiteY23" fmla="*/ 729 h 10127"/>
                  <a:gd name="connsiteX24" fmla="*/ 1961 w 10000"/>
                  <a:gd name="connsiteY24" fmla="*/ 729 h 10127"/>
                  <a:gd name="connsiteX25" fmla="*/ 1961 w 10000"/>
                  <a:gd name="connsiteY25" fmla="*/ 2263 h 10127"/>
                  <a:gd name="connsiteX26" fmla="*/ 1285 w 10000"/>
                  <a:gd name="connsiteY26" fmla="*/ 2263 h 10127"/>
                  <a:gd name="connsiteX27" fmla="*/ 1285 w 10000"/>
                  <a:gd name="connsiteY27" fmla="*/ 2556 h 10127"/>
                  <a:gd name="connsiteX28" fmla="*/ 1285 w 10000"/>
                  <a:gd name="connsiteY28" fmla="*/ 5179 h 10127"/>
                  <a:gd name="connsiteX29" fmla="*/ 1135 w 10000"/>
                  <a:gd name="connsiteY29" fmla="*/ 5327 h 10127"/>
                  <a:gd name="connsiteX30" fmla="*/ 684 w 10000"/>
                  <a:gd name="connsiteY30" fmla="*/ 5621 h 10127"/>
                  <a:gd name="connsiteX31" fmla="*/ 609 w 10000"/>
                  <a:gd name="connsiteY31" fmla="*/ 5986 h 10127"/>
                  <a:gd name="connsiteX32" fmla="*/ 384 w 10000"/>
                  <a:gd name="connsiteY32" fmla="*/ 6351 h 10127"/>
                  <a:gd name="connsiteX33" fmla="*/ 234 w 10000"/>
                  <a:gd name="connsiteY33" fmla="*/ 6935 h 10127"/>
                  <a:gd name="connsiteX34" fmla="*/ 8 w 10000"/>
                  <a:gd name="connsiteY34" fmla="*/ 7593 h 10127"/>
                  <a:gd name="connsiteX35" fmla="*/ 384 w 10000"/>
                  <a:gd name="connsiteY35" fmla="*/ 7664 h 10127"/>
                  <a:gd name="connsiteX36" fmla="*/ 458 w 10000"/>
                  <a:gd name="connsiteY36" fmla="*/ 8245 h 10127"/>
                  <a:gd name="connsiteX37" fmla="*/ 684 w 10000"/>
                  <a:gd name="connsiteY37" fmla="*/ 8831 h 10127"/>
                  <a:gd name="connsiteX38" fmla="*/ 1059 w 10000"/>
                  <a:gd name="connsiteY38" fmla="*/ 10000 h 10127"/>
                  <a:gd name="connsiteX39" fmla="*/ 1840 w 10000"/>
                  <a:gd name="connsiteY39" fmla="*/ 10103 h 10127"/>
                  <a:gd name="connsiteX40" fmla="*/ 1827 w 10000"/>
                  <a:gd name="connsiteY40" fmla="*/ 10127 h 10127"/>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2544 w 10000"/>
                  <a:gd name="connsiteY40" fmla="*/ 10002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2518 w 10000"/>
                  <a:gd name="connsiteY41"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3453 w 10000"/>
                  <a:gd name="connsiteY41" fmla="*/ 9915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4414 w 10000"/>
                  <a:gd name="connsiteY43" fmla="*/ 9791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515 w 10000"/>
                  <a:gd name="connsiteY44" fmla="*/ 9654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411 w 10000"/>
                  <a:gd name="connsiteY44" fmla="*/ 9517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5988 w 10000"/>
                  <a:gd name="connsiteY44" fmla="*/ 921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5541 w 10000"/>
                  <a:gd name="connsiteY43" fmla="*/ 9679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56 w 10000"/>
                  <a:gd name="connsiteY44" fmla="*/ 9193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881 w 10000"/>
                  <a:gd name="connsiteY44" fmla="*/ 9296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93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2518 w 10000"/>
                  <a:gd name="connsiteY42" fmla="*/ 10002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4529 w 10000"/>
                  <a:gd name="connsiteY41" fmla="*/ 9803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69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40 w 10000"/>
                  <a:gd name="connsiteY41" fmla="*/ 7935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15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18 w 10000"/>
                  <a:gd name="connsiteY42" fmla="*/ 8060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524 w 10000"/>
                  <a:gd name="connsiteY42" fmla="*/ 8107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401 w 10000"/>
                  <a:gd name="connsiteY41" fmla="*/ 7898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3466 w 10000"/>
                  <a:gd name="connsiteY40" fmla="*/ 9927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5521 w 10000"/>
                  <a:gd name="connsiteY40" fmla="*/ 8508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47 w 10000"/>
                  <a:gd name="connsiteY42" fmla="*/ 8144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11 w 10000"/>
                  <a:gd name="connsiteY40" fmla="*/ 8349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24 w 10000"/>
                  <a:gd name="connsiteY41" fmla="*/ 7954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126"/>
                  <a:gd name="connsiteX1" fmla="*/ 7446 w 10000"/>
                  <a:gd name="connsiteY1" fmla="*/ 8978 h 10126"/>
                  <a:gd name="connsiteX2" fmla="*/ 7821 w 10000"/>
                  <a:gd name="connsiteY2" fmla="*/ 8978 h 10126"/>
                  <a:gd name="connsiteX3" fmla="*/ 8047 w 10000"/>
                  <a:gd name="connsiteY3" fmla="*/ 8029 h 10126"/>
                  <a:gd name="connsiteX4" fmla="*/ 8648 w 10000"/>
                  <a:gd name="connsiteY4" fmla="*/ 7444 h 10126"/>
                  <a:gd name="connsiteX5" fmla="*/ 8873 w 10000"/>
                  <a:gd name="connsiteY5" fmla="*/ 6351 h 10126"/>
                  <a:gd name="connsiteX6" fmla="*/ 8722 w 10000"/>
                  <a:gd name="connsiteY6" fmla="*/ 5768 h 10126"/>
                  <a:gd name="connsiteX7" fmla="*/ 9098 w 10000"/>
                  <a:gd name="connsiteY7" fmla="*/ 4525 h 10126"/>
                  <a:gd name="connsiteX8" fmla="*/ 9399 w 10000"/>
                  <a:gd name="connsiteY8" fmla="*/ 4160 h 10126"/>
                  <a:gd name="connsiteX9" fmla="*/ 10000 w 10000"/>
                  <a:gd name="connsiteY9" fmla="*/ 3576 h 10126"/>
                  <a:gd name="connsiteX10" fmla="*/ 9774 w 10000"/>
                  <a:gd name="connsiteY10" fmla="*/ 3502 h 10126"/>
                  <a:gd name="connsiteX11" fmla="*/ 9399 w 10000"/>
                  <a:gd name="connsiteY11" fmla="*/ 3140 h 10126"/>
                  <a:gd name="connsiteX12" fmla="*/ 9173 w 10000"/>
                  <a:gd name="connsiteY12" fmla="*/ 2044 h 10126"/>
                  <a:gd name="connsiteX13" fmla="*/ 9173 w 10000"/>
                  <a:gd name="connsiteY13" fmla="*/ 1460 h 10126"/>
                  <a:gd name="connsiteX14" fmla="*/ 9098 w 10000"/>
                  <a:gd name="connsiteY14" fmla="*/ 729 h 10126"/>
                  <a:gd name="connsiteX15" fmla="*/ 8873 w 10000"/>
                  <a:gd name="connsiteY15" fmla="*/ 511 h 10126"/>
                  <a:gd name="connsiteX16" fmla="*/ 8497 w 10000"/>
                  <a:gd name="connsiteY16" fmla="*/ 219 h 10126"/>
                  <a:gd name="connsiteX17" fmla="*/ 8272 w 10000"/>
                  <a:gd name="connsiteY17" fmla="*/ 0 h 10126"/>
                  <a:gd name="connsiteX18" fmla="*/ 7821 w 10000"/>
                  <a:gd name="connsiteY18" fmla="*/ 293 h 10126"/>
                  <a:gd name="connsiteX19" fmla="*/ 7370 w 10000"/>
                  <a:gd name="connsiteY19" fmla="*/ 729 h 10126"/>
                  <a:gd name="connsiteX20" fmla="*/ 6769 w 10000"/>
                  <a:gd name="connsiteY20" fmla="*/ 729 h 10126"/>
                  <a:gd name="connsiteX21" fmla="*/ 5717 w 10000"/>
                  <a:gd name="connsiteY21" fmla="*/ 729 h 10126"/>
                  <a:gd name="connsiteX22" fmla="*/ 5717 w 10000"/>
                  <a:gd name="connsiteY22" fmla="*/ 658 h 10126"/>
                  <a:gd name="connsiteX23" fmla="*/ 5643 w 10000"/>
                  <a:gd name="connsiteY23" fmla="*/ 729 h 10126"/>
                  <a:gd name="connsiteX24" fmla="*/ 1961 w 10000"/>
                  <a:gd name="connsiteY24" fmla="*/ 729 h 10126"/>
                  <a:gd name="connsiteX25" fmla="*/ 1961 w 10000"/>
                  <a:gd name="connsiteY25" fmla="*/ 2263 h 10126"/>
                  <a:gd name="connsiteX26" fmla="*/ 1285 w 10000"/>
                  <a:gd name="connsiteY26" fmla="*/ 2263 h 10126"/>
                  <a:gd name="connsiteX27" fmla="*/ 1285 w 10000"/>
                  <a:gd name="connsiteY27" fmla="*/ 2556 h 10126"/>
                  <a:gd name="connsiteX28" fmla="*/ 1285 w 10000"/>
                  <a:gd name="connsiteY28" fmla="*/ 5179 h 10126"/>
                  <a:gd name="connsiteX29" fmla="*/ 1135 w 10000"/>
                  <a:gd name="connsiteY29" fmla="*/ 5327 h 10126"/>
                  <a:gd name="connsiteX30" fmla="*/ 684 w 10000"/>
                  <a:gd name="connsiteY30" fmla="*/ 5621 h 10126"/>
                  <a:gd name="connsiteX31" fmla="*/ 609 w 10000"/>
                  <a:gd name="connsiteY31" fmla="*/ 5986 h 10126"/>
                  <a:gd name="connsiteX32" fmla="*/ 384 w 10000"/>
                  <a:gd name="connsiteY32" fmla="*/ 6351 h 10126"/>
                  <a:gd name="connsiteX33" fmla="*/ 234 w 10000"/>
                  <a:gd name="connsiteY33" fmla="*/ 6935 h 10126"/>
                  <a:gd name="connsiteX34" fmla="*/ 8 w 10000"/>
                  <a:gd name="connsiteY34" fmla="*/ 7593 h 10126"/>
                  <a:gd name="connsiteX35" fmla="*/ 384 w 10000"/>
                  <a:gd name="connsiteY35" fmla="*/ 7664 h 10126"/>
                  <a:gd name="connsiteX36" fmla="*/ 458 w 10000"/>
                  <a:gd name="connsiteY36" fmla="*/ 8245 h 10126"/>
                  <a:gd name="connsiteX37" fmla="*/ 684 w 10000"/>
                  <a:gd name="connsiteY37" fmla="*/ 8831 h 10126"/>
                  <a:gd name="connsiteX38" fmla="*/ 1059 w 10000"/>
                  <a:gd name="connsiteY38" fmla="*/ 10000 h 10126"/>
                  <a:gd name="connsiteX39" fmla="*/ 1840 w 10000"/>
                  <a:gd name="connsiteY39" fmla="*/ 10103 h 10126"/>
                  <a:gd name="connsiteX40" fmla="*/ 6040 w 10000"/>
                  <a:gd name="connsiteY40" fmla="*/ 8368 h 10126"/>
                  <a:gd name="connsiteX41" fmla="*/ 6382 w 10000"/>
                  <a:gd name="connsiteY41" fmla="*/ 7982 h 10126"/>
                  <a:gd name="connsiteX42" fmla="*/ 6428 w 10000"/>
                  <a:gd name="connsiteY42" fmla="*/ 8181 h 10126"/>
                  <a:gd name="connsiteX43" fmla="*/ 6444 w 10000"/>
                  <a:gd name="connsiteY43" fmla="*/ 8428 h 10126"/>
                  <a:gd name="connsiteX44" fmla="*/ 6766 w 10000"/>
                  <a:gd name="connsiteY44" fmla="*/ 9268 h 10126"/>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5807 w 10000"/>
                  <a:gd name="connsiteY39" fmla="*/ 8693 h 10015"/>
                  <a:gd name="connsiteX40" fmla="*/ 6040 w 10000"/>
                  <a:gd name="connsiteY40" fmla="*/ 8368 h 10015"/>
                  <a:gd name="connsiteX41" fmla="*/ 6382 w 10000"/>
                  <a:gd name="connsiteY41" fmla="*/ 7982 h 10015"/>
                  <a:gd name="connsiteX42" fmla="*/ 6428 w 10000"/>
                  <a:gd name="connsiteY42" fmla="*/ 8181 h 10015"/>
                  <a:gd name="connsiteX43" fmla="*/ 6444 w 10000"/>
                  <a:gd name="connsiteY43" fmla="*/ 8428 h 10015"/>
                  <a:gd name="connsiteX44" fmla="*/ 6766 w 10000"/>
                  <a:gd name="connsiteY44" fmla="*/ 9268 h 10015"/>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07 w 10000"/>
                  <a:gd name="connsiteY39" fmla="*/ 8693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5865 w 10000"/>
                  <a:gd name="connsiteY39" fmla="*/ 8712 h 10018"/>
                  <a:gd name="connsiteX40" fmla="*/ 6040 w 10000"/>
                  <a:gd name="connsiteY40" fmla="*/ 8368 h 10018"/>
                  <a:gd name="connsiteX41" fmla="*/ 6382 w 10000"/>
                  <a:gd name="connsiteY41" fmla="*/ 7982 h 10018"/>
                  <a:gd name="connsiteX42" fmla="*/ 6428 w 10000"/>
                  <a:gd name="connsiteY42" fmla="*/ 8181 h 10018"/>
                  <a:gd name="connsiteX43" fmla="*/ 6444 w 10000"/>
                  <a:gd name="connsiteY43" fmla="*/ 8428 h 10018"/>
                  <a:gd name="connsiteX44" fmla="*/ 6766 w 10000"/>
                  <a:gd name="connsiteY44" fmla="*/ 9268 h 10018"/>
                  <a:gd name="connsiteX0" fmla="*/ 7446 w 10000"/>
                  <a:gd name="connsiteY0" fmla="*/ 9488 h 10160"/>
                  <a:gd name="connsiteX1" fmla="*/ 7446 w 10000"/>
                  <a:gd name="connsiteY1" fmla="*/ 8978 h 10160"/>
                  <a:gd name="connsiteX2" fmla="*/ 7821 w 10000"/>
                  <a:gd name="connsiteY2" fmla="*/ 8978 h 10160"/>
                  <a:gd name="connsiteX3" fmla="*/ 8047 w 10000"/>
                  <a:gd name="connsiteY3" fmla="*/ 8029 h 10160"/>
                  <a:gd name="connsiteX4" fmla="*/ 8648 w 10000"/>
                  <a:gd name="connsiteY4" fmla="*/ 7444 h 10160"/>
                  <a:gd name="connsiteX5" fmla="*/ 8873 w 10000"/>
                  <a:gd name="connsiteY5" fmla="*/ 6351 h 10160"/>
                  <a:gd name="connsiteX6" fmla="*/ 8722 w 10000"/>
                  <a:gd name="connsiteY6" fmla="*/ 5768 h 10160"/>
                  <a:gd name="connsiteX7" fmla="*/ 9098 w 10000"/>
                  <a:gd name="connsiteY7" fmla="*/ 4525 h 10160"/>
                  <a:gd name="connsiteX8" fmla="*/ 9399 w 10000"/>
                  <a:gd name="connsiteY8" fmla="*/ 4160 h 10160"/>
                  <a:gd name="connsiteX9" fmla="*/ 10000 w 10000"/>
                  <a:gd name="connsiteY9" fmla="*/ 3576 h 10160"/>
                  <a:gd name="connsiteX10" fmla="*/ 9774 w 10000"/>
                  <a:gd name="connsiteY10" fmla="*/ 3502 h 10160"/>
                  <a:gd name="connsiteX11" fmla="*/ 9399 w 10000"/>
                  <a:gd name="connsiteY11" fmla="*/ 3140 h 10160"/>
                  <a:gd name="connsiteX12" fmla="*/ 9173 w 10000"/>
                  <a:gd name="connsiteY12" fmla="*/ 2044 h 10160"/>
                  <a:gd name="connsiteX13" fmla="*/ 9173 w 10000"/>
                  <a:gd name="connsiteY13" fmla="*/ 1460 h 10160"/>
                  <a:gd name="connsiteX14" fmla="*/ 9098 w 10000"/>
                  <a:gd name="connsiteY14" fmla="*/ 729 h 10160"/>
                  <a:gd name="connsiteX15" fmla="*/ 8873 w 10000"/>
                  <a:gd name="connsiteY15" fmla="*/ 511 h 10160"/>
                  <a:gd name="connsiteX16" fmla="*/ 8497 w 10000"/>
                  <a:gd name="connsiteY16" fmla="*/ 219 h 10160"/>
                  <a:gd name="connsiteX17" fmla="*/ 8272 w 10000"/>
                  <a:gd name="connsiteY17" fmla="*/ 0 h 10160"/>
                  <a:gd name="connsiteX18" fmla="*/ 7821 w 10000"/>
                  <a:gd name="connsiteY18" fmla="*/ 293 h 10160"/>
                  <a:gd name="connsiteX19" fmla="*/ 7370 w 10000"/>
                  <a:gd name="connsiteY19" fmla="*/ 729 h 10160"/>
                  <a:gd name="connsiteX20" fmla="*/ 6769 w 10000"/>
                  <a:gd name="connsiteY20" fmla="*/ 729 h 10160"/>
                  <a:gd name="connsiteX21" fmla="*/ 5717 w 10000"/>
                  <a:gd name="connsiteY21" fmla="*/ 729 h 10160"/>
                  <a:gd name="connsiteX22" fmla="*/ 5717 w 10000"/>
                  <a:gd name="connsiteY22" fmla="*/ 658 h 10160"/>
                  <a:gd name="connsiteX23" fmla="*/ 5643 w 10000"/>
                  <a:gd name="connsiteY23" fmla="*/ 729 h 10160"/>
                  <a:gd name="connsiteX24" fmla="*/ 1961 w 10000"/>
                  <a:gd name="connsiteY24" fmla="*/ 729 h 10160"/>
                  <a:gd name="connsiteX25" fmla="*/ 1961 w 10000"/>
                  <a:gd name="connsiteY25" fmla="*/ 2263 h 10160"/>
                  <a:gd name="connsiteX26" fmla="*/ 1285 w 10000"/>
                  <a:gd name="connsiteY26" fmla="*/ 2263 h 10160"/>
                  <a:gd name="connsiteX27" fmla="*/ 1285 w 10000"/>
                  <a:gd name="connsiteY27" fmla="*/ 2556 h 10160"/>
                  <a:gd name="connsiteX28" fmla="*/ 1285 w 10000"/>
                  <a:gd name="connsiteY28" fmla="*/ 5179 h 10160"/>
                  <a:gd name="connsiteX29" fmla="*/ 1135 w 10000"/>
                  <a:gd name="connsiteY29" fmla="*/ 5327 h 10160"/>
                  <a:gd name="connsiteX30" fmla="*/ 684 w 10000"/>
                  <a:gd name="connsiteY30" fmla="*/ 5621 h 10160"/>
                  <a:gd name="connsiteX31" fmla="*/ 609 w 10000"/>
                  <a:gd name="connsiteY31" fmla="*/ 5986 h 10160"/>
                  <a:gd name="connsiteX32" fmla="*/ 384 w 10000"/>
                  <a:gd name="connsiteY32" fmla="*/ 6351 h 10160"/>
                  <a:gd name="connsiteX33" fmla="*/ 234 w 10000"/>
                  <a:gd name="connsiteY33" fmla="*/ 6935 h 10160"/>
                  <a:gd name="connsiteX34" fmla="*/ 8 w 10000"/>
                  <a:gd name="connsiteY34" fmla="*/ 7593 h 10160"/>
                  <a:gd name="connsiteX35" fmla="*/ 384 w 10000"/>
                  <a:gd name="connsiteY35" fmla="*/ 7664 h 10160"/>
                  <a:gd name="connsiteX36" fmla="*/ 458 w 10000"/>
                  <a:gd name="connsiteY36" fmla="*/ 8245 h 10160"/>
                  <a:gd name="connsiteX37" fmla="*/ 684 w 10000"/>
                  <a:gd name="connsiteY37" fmla="*/ 8831 h 10160"/>
                  <a:gd name="connsiteX38" fmla="*/ 1059 w 10000"/>
                  <a:gd name="connsiteY38" fmla="*/ 10000 h 10160"/>
                  <a:gd name="connsiteX39" fmla="*/ 1058 w 10000"/>
                  <a:gd name="connsiteY39" fmla="*/ 10012 h 10160"/>
                  <a:gd name="connsiteX40" fmla="*/ 5865 w 10000"/>
                  <a:gd name="connsiteY40" fmla="*/ 8712 h 10160"/>
                  <a:gd name="connsiteX41" fmla="*/ 6040 w 10000"/>
                  <a:gd name="connsiteY41" fmla="*/ 8368 h 10160"/>
                  <a:gd name="connsiteX42" fmla="*/ 6382 w 10000"/>
                  <a:gd name="connsiteY42" fmla="*/ 7982 h 10160"/>
                  <a:gd name="connsiteX43" fmla="*/ 6428 w 10000"/>
                  <a:gd name="connsiteY43" fmla="*/ 8181 h 10160"/>
                  <a:gd name="connsiteX44" fmla="*/ 6444 w 10000"/>
                  <a:gd name="connsiteY44" fmla="*/ 8428 h 10160"/>
                  <a:gd name="connsiteX45" fmla="*/ 6766 w 10000"/>
                  <a:gd name="connsiteY45" fmla="*/ 9268 h 10160"/>
                  <a:gd name="connsiteX0" fmla="*/ 7446 w 10000"/>
                  <a:gd name="connsiteY0" fmla="*/ 9488 h 10258"/>
                  <a:gd name="connsiteX1" fmla="*/ 7446 w 10000"/>
                  <a:gd name="connsiteY1" fmla="*/ 8978 h 10258"/>
                  <a:gd name="connsiteX2" fmla="*/ 7821 w 10000"/>
                  <a:gd name="connsiteY2" fmla="*/ 8978 h 10258"/>
                  <a:gd name="connsiteX3" fmla="*/ 8047 w 10000"/>
                  <a:gd name="connsiteY3" fmla="*/ 8029 h 10258"/>
                  <a:gd name="connsiteX4" fmla="*/ 8648 w 10000"/>
                  <a:gd name="connsiteY4" fmla="*/ 7444 h 10258"/>
                  <a:gd name="connsiteX5" fmla="*/ 8873 w 10000"/>
                  <a:gd name="connsiteY5" fmla="*/ 6351 h 10258"/>
                  <a:gd name="connsiteX6" fmla="*/ 8722 w 10000"/>
                  <a:gd name="connsiteY6" fmla="*/ 5768 h 10258"/>
                  <a:gd name="connsiteX7" fmla="*/ 9098 w 10000"/>
                  <a:gd name="connsiteY7" fmla="*/ 4525 h 10258"/>
                  <a:gd name="connsiteX8" fmla="*/ 9399 w 10000"/>
                  <a:gd name="connsiteY8" fmla="*/ 4160 h 10258"/>
                  <a:gd name="connsiteX9" fmla="*/ 10000 w 10000"/>
                  <a:gd name="connsiteY9" fmla="*/ 3576 h 10258"/>
                  <a:gd name="connsiteX10" fmla="*/ 9774 w 10000"/>
                  <a:gd name="connsiteY10" fmla="*/ 3502 h 10258"/>
                  <a:gd name="connsiteX11" fmla="*/ 9399 w 10000"/>
                  <a:gd name="connsiteY11" fmla="*/ 3140 h 10258"/>
                  <a:gd name="connsiteX12" fmla="*/ 9173 w 10000"/>
                  <a:gd name="connsiteY12" fmla="*/ 2044 h 10258"/>
                  <a:gd name="connsiteX13" fmla="*/ 9173 w 10000"/>
                  <a:gd name="connsiteY13" fmla="*/ 1460 h 10258"/>
                  <a:gd name="connsiteX14" fmla="*/ 9098 w 10000"/>
                  <a:gd name="connsiteY14" fmla="*/ 729 h 10258"/>
                  <a:gd name="connsiteX15" fmla="*/ 8873 w 10000"/>
                  <a:gd name="connsiteY15" fmla="*/ 511 h 10258"/>
                  <a:gd name="connsiteX16" fmla="*/ 8497 w 10000"/>
                  <a:gd name="connsiteY16" fmla="*/ 219 h 10258"/>
                  <a:gd name="connsiteX17" fmla="*/ 8272 w 10000"/>
                  <a:gd name="connsiteY17" fmla="*/ 0 h 10258"/>
                  <a:gd name="connsiteX18" fmla="*/ 7821 w 10000"/>
                  <a:gd name="connsiteY18" fmla="*/ 293 h 10258"/>
                  <a:gd name="connsiteX19" fmla="*/ 7370 w 10000"/>
                  <a:gd name="connsiteY19" fmla="*/ 729 h 10258"/>
                  <a:gd name="connsiteX20" fmla="*/ 6769 w 10000"/>
                  <a:gd name="connsiteY20" fmla="*/ 729 h 10258"/>
                  <a:gd name="connsiteX21" fmla="*/ 5717 w 10000"/>
                  <a:gd name="connsiteY21" fmla="*/ 729 h 10258"/>
                  <a:gd name="connsiteX22" fmla="*/ 5717 w 10000"/>
                  <a:gd name="connsiteY22" fmla="*/ 658 h 10258"/>
                  <a:gd name="connsiteX23" fmla="*/ 5643 w 10000"/>
                  <a:gd name="connsiteY23" fmla="*/ 729 h 10258"/>
                  <a:gd name="connsiteX24" fmla="*/ 1961 w 10000"/>
                  <a:gd name="connsiteY24" fmla="*/ 729 h 10258"/>
                  <a:gd name="connsiteX25" fmla="*/ 1961 w 10000"/>
                  <a:gd name="connsiteY25" fmla="*/ 2263 h 10258"/>
                  <a:gd name="connsiteX26" fmla="*/ 1285 w 10000"/>
                  <a:gd name="connsiteY26" fmla="*/ 2263 h 10258"/>
                  <a:gd name="connsiteX27" fmla="*/ 1285 w 10000"/>
                  <a:gd name="connsiteY27" fmla="*/ 2556 h 10258"/>
                  <a:gd name="connsiteX28" fmla="*/ 1285 w 10000"/>
                  <a:gd name="connsiteY28" fmla="*/ 5179 h 10258"/>
                  <a:gd name="connsiteX29" fmla="*/ 1135 w 10000"/>
                  <a:gd name="connsiteY29" fmla="*/ 5327 h 10258"/>
                  <a:gd name="connsiteX30" fmla="*/ 684 w 10000"/>
                  <a:gd name="connsiteY30" fmla="*/ 5621 h 10258"/>
                  <a:gd name="connsiteX31" fmla="*/ 609 w 10000"/>
                  <a:gd name="connsiteY31" fmla="*/ 5986 h 10258"/>
                  <a:gd name="connsiteX32" fmla="*/ 384 w 10000"/>
                  <a:gd name="connsiteY32" fmla="*/ 6351 h 10258"/>
                  <a:gd name="connsiteX33" fmla="*/ 234 w 10000"/>
                  <a:gd name="connsiteY33" fmla="*/ 6935 h 10258"/>
                  <a:gd name="connsiteX34" fmla="*/ 8 w 10000"/>
                  <a:gd name="connsiteY34" fmla="*/ 7593 h 10258"/>
                  <a:gd name="connsiteX35" fmla="*/ 384 w 10000"/>
                  <a:gd name="connsiteY35" fmla="*/ 7664 h 10258"/>
                  <a:gd name="connsiteX36" fmla="*/ 458 w 10000"/>
                  <a:gd name="connsiteY36" fmla="*/ 8245 h 10258"/>
                  <a:gd name="connsiteX37" fmla="*/ 684 w 10000"/>
                  <a:gd name="connsiteY37" fmla="*/ 8831 h 10258"/>
                  <a:gd name="connsiteX38" fmla="*/ 1059 w 10000"/>
                  <a:gd name="connsiteY38" fmla="*/ 10000 h 10258"/>
                  <a:gd name="connsiteX39" fmla="*/ 1903 w 10000"/>
                  <a:gd name="connsiteY39" fmla="*/ 10161 h 10258"/>
                  <a:gd name="connsiteX40" fmla="*/ 5865 w 10000"/>
                  <a:gd name="connsiteY40" fmla="*/ 8712 h 10258"/>
                  <a:gd name="connsiteX41" fmla="*/ 6040 w 10000"/>
                  <a:gd name="connsiteY41" fmla="*/ 8368 h 10258"/>
                  <a:gd name="connsiteX42" fmla="*/ 6382 w 10000"/>
                  <a:gd name="connsiteY42" fmla="*/ 7982 h 10258"/>
                  <a:gd name="connsiteX43" fmla="*/ 6428 w 10000"/>
                  <a:gd name="connsiteY43" fmla="*/ 8181 h 10258"/>
                  <a:gd name="connsiteX44" fmla="*/ 6444 w 10000"/>
                  <a:gd name="connsiteY44" fmla="*/ 8428 h 10258"/>
                  <a:gd name="connsiteX45" fmla="*/ 6766 w 10000"/>
                  <a:gd name="connsiteY45" fmla="*/ 9268 h 10258"/>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2335 w 10000"/>
                  <a:gd name="connsiteY39" fmla="*/ 9619 h 10056"/>
                  <a:gd name="connsiteX40" fmla="*/ 5865 w 10000"/>
                  <a:gd name="connsiteY40" fmla="*/ 8712 h 10056"/>
                  <a:gd name="connsiteX41" fmla="*/ 6040 w 10000"/>
                  <a:gd name="connsiteY41" fmla="*/ 8368 h 10056"/>
                  <a:gd name="connsiteX42" fmla="*/ 6382 w 10000"/>
                  <a:gd name="connsiteY42" fmla="*/ 7982 h 10056"/>
                  <a:gd name="connsiteX43" fmla="*/ 6428 w 10000"/>
                  <a:gd name="connsiteY43" fmla="*/ 8181 h 10056"/>
                  <a:gd name="connsiteX44" fmla="*/ 6444 w 10000"/>
                  <a:gd name="connsiteY44" fmla="*/ 8428 h 10056"/>
                  <a:gd name="connsiteX45" fmla="*/ 6766 w 10000"/>
                  <a:gd name="connsiteY45" fmla="*/ 9268 h 1005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6"/>
                  <a:gd name="connsiteX1" fmla="*/ 7446 w 10000"/>
                  <a:gd name="connsiteY1" fmla="*/ 8978 h 10026"/>
                  <a:gd name="connsiteX2" fmla="*/ 7821 w 10000"/>
                  <a:gd name="connsiteY2" fmla="*/ 8978 h 10026"/>
                  <a:gd name="connsiteX3" fmla="*/ 8047 w 10000"/>
                  <a:gd name="connsiteY3" fmla="*/ 8029 h 10026"/>
                  <a:gd name="connsiteX4" fmla="*/ 8648 w 10000"/>
                  <a:gd name="connsiteY4" fmla="*/ 7444 h 10026"/>
                  <a:gd name="connsiteX5" fmla="*/ 8873 w 10000"/>
                  <a:gd name="connsiteY5" fmla="*/ 6351 h 10026"/>
                  <a:gd name="connsiteX6" fmla="*/ 8722 w 10000"/>
                  <a:gd name="connsiteY6" fmla="*/ 5768 h 10026"/>
                  <a:gd name="connsiteX7" fmla="*/ 9098 w 10000"/>
                  <a:gd name="connsiteY7" fmla="*/ 4525 h 10026"/>
                  <a:gd name="connsiteX8" fmla="*/ 9399 w 10000"/>
                  <a:gd name="connsiteY8" fmla="*/ 4160 h 10026"/>
                  <a:gd name="connsiteX9" fmla="*/ 10000 w 10000"/>
                  <a:gd name="connsiteY9" fmla="*/ 3576 h 10026"/>
                  <a:gd name="connsiteX10" fmla="*/ 9774 w 10000"/>
                  <a:gd name="connsiteY10" fmla="*/ 3502 h 10026"/>
                  <a:gd name="connsiteX11" fmla="*/ 9399 w 10000"/>
                  <a:gd name="connsiteY11" fmla="*/ 3140 h 10026"/>
                  <a:gd name="connsiteX12" fmla="*/ 9173 w 10000"/>
                  <a:gd name="connsiteY12" fmla="*/ 2044 h 10026"/>
                  <a:gd name="connsiteX13" fmla="*/ 9173 w 10000"/>
                  <a:gd name="connsiteY13" fmla="*/ 1460 h 10026"/>
                  <a:gd name="connsiteX14" fmla="*/ 9098 w 10000"/>
                  <a:gd name="connsiteY14" fmla="*/ 729 h 10026"/>
                  <a:gd name="connsiteX15" fmla="*/ 8873 w 10000"/>
                  <a:gd name="connsiteY15" fmla="*/ 511 h 10026"/>
                  <a:gd name="connsiteX16" fmla="*/ 8497 w 10000"/>
                  <a:gd name="connsiteY16" fmla="*/ 219 h 10026"/>
                  <a:gd name="connsiteX17" fmla="*/ 8272 w 10000"/>
                  <a:gd name="connsiteY17" fmla="*/ 0 h 10026"/>
                  <a:gd name="connsiteX18" fmla="*/ 7821 w 10000"/>
                  <a:gd name="connsiteY18" fmla="*/ 293 h 10026"/>
                  <a:gd name="connsiteX19" fmla="*/ 7370 w 10000"/>
                  <a:gd name="connsiteY19" fmla="*/ 729 h 10026"/>
                  <a:gd name="connsiteX20" fmla="*/ 6769 w 10000"/>
                  <a:gd name="connsiteY20" fmla="*/ 729 h 10026"/>
                  <a:gd name="connsiteX21" fmla="*/ 5717 w 10000"/>
                  <a:gd name="connsiteY21" fmla="*/ 729 h 10026"/>
                  <a:gd name="connsiteX22" fmla="*/ 5717 w 10000"/>
                  <a:gd name="connsiteY22" fmla="*/ 658 h 10026"/>
                  <a:gd name="connsiteX23" fmla="*/ 5643 w 10000"/>
                  <a:gd name="connsiteY23" fmla="*/ 729 h 10026"/>
                  <a:gd name="connsiteX24" fmla="*/ 1961 w 10000"/>
                  <a:gd name="connsiteY24" fmla="*/ 729 h 10026"/>
                  <a:gd name="connsiteX25" fmla="*/ 1961 w 10000"/>
                  <a:gd name="connsiteY25" fmla="*/ 2263 h 10026"/>
                  <a:gd name="connsiteX26" fmla="*/ 1285 w 10000"/>
                  <a:gd name="connsiteY26" fmla="*/ 2263 h 10026"/>
                  <a:gd name="connsiteX27" fmla="*/ 1285 w 10000"/>
                  <a:gd name="connsiteY27" fmla="*/ 2556 h 10026"/>
                  <a:gd name="connsiteX28" fmla="*/ 1285 w 10000"/>
                  <a:gd name="connsiteY28" fmla="*/ 5179 h 10026"/>
                  <a:gd name="connsiteX29" fmla="*/ 1135 w 10000"/>
                  <a:gd name="connsiteY29" fmla="*/ 5327 h 10026"/>
                  <a:gd name="connsiteX30" fmla="*/ 684 w 10000"/>
                  <a:gd name="connsiteY30" fmla="*/ 5621 h 10026"/>
                  <a:gd name="connsiteX31" fmla="*/ 609 w 10000"/>
                  <a:gd name="connsiteY31" fmla="*/ 5986 h 10026"/>
                  <a:gd name="connsiteX32" fmla="*/ 384 w 10000"/>
                  <a:gd name="connsiteY32" fmla="*/ 6351 h 10026"/>
                  <a:gd name="connsiteX33" fmla="*/ 234 w 10000"/>
                  <a:gd name="connsiteY33" fmla="*/ 6935 h 10026"/>
                  <a:gd name="connsiteX34" fmla="*/ 8 w 10000"/>
                  <a:gd name="connsiteY34" fmla="*/ 7593 h 10026"/>
                  <a:gd name="connsiteX35" fmla="*/ 384 w 10000"/>
                  <a:gd name="connsiteY35" fmla="*/ 7664 h 10026"/>
                  <a:gd name="connsiteX36" fmla="*/ 458 w 10000"/>
                  <a:gd name="connsiteY36" fmla="*/ 8245 h 10026"/>
                  <a:gd name="connsiteX37" fmla="*/ 684 w 10000"/>
                  <a:gd name="connsiteY37" fmla="*/ 8831 h 10026"/>
                  <a:gd name="connsiteX38" fmla="*/ 1059 w 10000"/>
                  <a:gd name="connsiteY38" fmla="*/ 10000 h 10026"/>
                  <a:gd name="connsiteX39" fmla="*/ 5831 w 10000"/>
                  <a:gd name="connsiteY39" fmla="*/ 9031 h 10026"/>
                  <a:gd name="connsiteX40" fmla="*/ 5865 w 10000"/>
                  <a:gd name="connsiteY40" fmla="*/ 8712 h 10026"/>
                  <a:gd name="connsiteX41" fmla="*/ 6040 w 10000"/>
                  <a:gd name="connsiteY41" fmla="*/ 8368 h 10026"/>
                  <a:gd name="connsiteX42" fmla="*/ 6382 w 10000"/>
                  <a:gd name="connsiteY42" fmla="*/ 7982 h 10026"/>
                  <a:gd name="connsiteX43" fmla="*/ 6428 w 10000"/>
                  <a:gd name="connsiteY43" fmla="*/ 8181 h 10026"/>
                  <a:gd name="connsiteX44" fmla="*/ 6444 w 10000"/>
                  <a:gd name="connsiteY44" fmla="*/ 8428 h 10026"/>
                  <a:gd name="connsiteX45" fmla="*/ 6766 w 10000"/>
                  <a:gd name="connsiteY45" fmla="*/ 9268 h 10026"/>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7"/>
                  <a:gd name="connsiteX1" fmla="*/ 7446 w 10000"/>
                  <a:gd name="connsiteY1" fmla="*/ 8978 h 10027"/>
                  <a:gd name="connsiteX2" fmla="*/ 7821 w 10000"/>
                  <a:gd name="connsiteY2" fmla="*/ 8978 h 10027"/>
                  <a:gd name="connsiteX3" fmla="*/ 8047 w 10000"/>
                  <a:gd name="connsiteY3" fmla="*/ 8029 h 10027"/>
                  <a:gd name="connsiteX4" fmla="*/ 8648 w 10000"/>
                  <a:gd name="connsiteY4" fmla="*/ 7444 h 10027"/>
                  <a:gd name="connsiteX5" fmla="*/ 8873 w 10000"/>
                  <a:gd name="connsiteY5" fmla="*/ 6351 h 10027"/>
                  <a:gd name="connsiteX6" fmla="*/ 8722 w 10000"/>
                  <a:gd name="connsiteY6" fmla="*/ 5768 h 10027"/>
                  <a:gd name="connsiteX7" fmla="*/ 9098 w 10000"/>
                  <a:gd name="connsiteY7" fmla="*/ 4525 h 10027"/>
                  <a:gd name="connsiteX8" fmla="*/ 9399 w 10000"/>
                  <a:gd name="connsiteY8" fmla="*/ 4160 h 10027"/>
                  <a:gd name="connsiteX9" fmla="*/ 10000 w 10000"/>
                  <a:gd name="connsiteY9" fmla="*/ 3576 h 10027"/>
                  <a:gd name="connsiteX10" fmla="*/ 9774 w 10000"/>
                  <a:gd name="connsiteY10" fmla="*/ 3502 h 10027"/>
                  <a:gd name="connsiteX11" fmla="*/ 9399 w 10000"/>
                  <a:gd name="connsiteY11" fmla="*/ 3140 h 10027"/>
                  <a:gd name="connsiteX12" fmla="*/ 9173 w 10000"/>
                  <a:gd name="connsiteY12" fmla="*/ 2044 h 10027"/>
                  <a:gd name="connsiteX13" fmla="*/ 9173 w 10000"/>
                  <a:gd name="connsiteY13" fmla="*/ 1460 h 10027"/>
                  <a:gd name="connsiteX14" fmla="*/ 9098 w 10000"/>
                  <a:gd name="connsiteY14" fmla="*/ 729 h 10027"/>
                  <a:gd name="connsiteX15" fmla="*/ 8873 w 10000"/>
                  <a:gd name="connsiteY15" fmla="*/ 511 h 10027"/>
                  <a:gd name="connsiteX16" fmla="*/ 8497 w 10000"/>
                  <a:gd name="connsiteY16" fmla="*/ 219 h 10027"/>
                  <a:gd name="connsiteX17" fmla="*/ 8272 w 10000"/>
                  <a:gd name="connsiteY17" fmla="*/ 0 h 10027"/>
                  <a:gd name="connsiteX18" fmla="*/ 7821 w 10000"/>
                  <a:gd name="connsiteY18" fmla="*/ 293 h 10027"/>
                  <a:gd name="connsiteX19" fmla="*/ 7370 w 10000"/>
                  <a:gd name="connsiteY19" fmla="*/ 729 h 10027"/>
                  <a:gd name="connsiteX20" fmla="*/ 6769 w 10000"/>
                  <a:gd name="connsiteY20" fmla="*/ 729 h 10027"/>
                  <a:gd name="connsiteX21" fmla="*/ 5717 w 10000"/>
                  <a:gd name="connsiteY21" fmla="*/ 729 h 10027"/>
                  <a:gd name="connsiteX22" fmla="*/ 5717 w 10000"/>
                  <a:gd name="connsiteY22" fmla="*/ 658 h 10027"/>
                  <a:gd name="connsiteX23" fmla="*/ 5643 w 10000"/>
                  <a:gd name="connsiteY23" fmla="*/ 729 h 10027"/>
                  <a:gd name="connsiteX24" fmla="*/ 1961 w 10000"/>
                  <a:gd name="connsiteY24" fmla="*/ 729 h 10027"/>
                  <a:gd name="connsiteX25" fmla="*/ 1961 w 10000"/>
                  <a:gd name="connsiteY25" fmla="*/ 2263 h 10027"/>
                  <a:gd name="connsiteX26" fmla="*/ 1285 w 10000"/>
                  <a:gd name="connsiteY26" fmla="*/ 2263 h 10027"/>
                  <a:gd name="connsiteX27" fmla="*/ 1285 w 10000"/>
                  <a:gd name="connsiteY27" fmla="*/ 2556 h 10027"/>
                  <a:gd name="connsiteX28" fmla="*/ 1285 w 10000"/>
                  <a:gd name="connsiteY28" fmla="*/ 5179 h 10027"/>
                  <a:gd name="connsiteX29" fmla="*/ 1135 w 10000"/>
                  <a:gd name="connsiteY29" fmla="*/ 5327 h 10027"/>
                  <a:gd name="connsiteX30" fmla="*/ 684 w 10000"/>
                  <a:gd name="connsiteY30" fmla="*/ 5621 h 10027"/>
                  <a:gd name="connsiteX31" fmla="*/ 609 w 10000"/>
                  <a:gd name="connsiteY31" fmla="*/ 5986 h 10027"/>
                  <a:gd name="connsiteX32" fmla="*/ 384 w 10000"/>
                  <a:gd name="connsiteY32" fmla="*/ 6351 h 10027"/>
                  <a:gd name="connsiteX33" fmla="*/ 234 w 10000"/>
                  <a:gd name="connsiteY33" fmla="*/ 6935 h 10027"/>
                  <a:gd name="connsiteX34" fmla="*/ 8 w 10000"/>
                  <a:gd name="connsiteY34" fmla="*/ 7593 h 10027"/>
                  <a:gd name="connsiteX35" fmla="*/ 384 w 10000"/>
                  <a:gd name="connsiteY35" fmla="*/ 7664 h 10027"/>
                  <a:gd name="connsiteX36" fmla="*/ 458 w 10000"/>
                  <a:gd name="connsiteY36" fmla="*/ 8245 h 10027"/>
                  <a:gd name="connsiteX37" fmla="*/ 684 w 10000"/>
                  <a:gd name="connsiteY37" fmla="*/ 8831 h 10027"/>
                  <a:gd name="connsiteX38" fmla="*/ 1059 w 10000"/>
                  <a:gd name="connsiteY38" fmla="*/ 10000 h 10027"/>
                  <a:gd name="connsiteX39" fmla="*/ 5649 w 10000"/>
                  <a:gd name="connsiteY39" fmla="*/ 9068 h 10027"/>
                  <a:gd name="connsiteX40" fmla="*/ 5865 w 10000"/>
                  <a:gd name="connsiteY40" fmla="*/ 8712 h 10027"/>
                  <a:gd name="connsiteX41" fmla="*/ 6040 w 10000"/>
                  <a:gd name="connsiteY41" fmla="*/ 8368 h 10027"/>
                  <a:gd name="connsiteX42" fmla="*/ 6382 w 10000"/>
                  <a:gd name="connsiteY42" fmla="*/ 7982 h 10027"/>
                  <a:gd name="connsiteX43" fmla="*/ 6428 w 10000"/>
                  <a:gd name="connsiteY43" fmla="*/ 8181 h 10027"/>
                  <a:gd name="connsiteX44" fmla="*/ 6444 w 10000"/>
                  <a:gd name="connsiteY44" fmla="*/ 8428 h 10027"/>
                  <a:gd name="connsiteX45" fmla="*/ 6766 w 10000"/>
                  <a:gd name="connsiteY45" fmla="*/ 9268 h 10027"/>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65 w 10000"/>
                  <a:gd name="connsiteY40" fmla="*/ 8712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025"/>
                  <a:gd name="connsiteX1" fmla="*/ 7446 w 10000"/>
                  <a:gd name="connsiteY1" fmla="*/ 8978 h 10025"/>
                  <a:gd name="connsiteX2" fmla="*/ 7821 w 10000"/>
                  <a:gd name="connsiteY2" fmla="*/ 8978 h 10025"/>
                  <a:gd name="connsiteX3" fmla="*/ 8047 w 10000"/>
                  <a:gd name="connsiteY3" fmla="*/ 8029 h 10025"/>
                  <a:gd name="connsiteX4" fmla="*/ 8648 w 10000"/>
                  <a:gd name="connsiteY4" fmla="*/ 7444 h 10025"/>
                  <a:gd name="connsiteX5" fmla="*/ 8873 w 10000"/>
                  <a:gd name="connsiteY5" fmla="*/ 6351 h 10025"/>
                  <a:gd name="connsiteX6" fmla="*/ 8722 w 10000"/>
                  <a:gd name="connsiteY6" fmla="*/ 5768 h 10025"/>
                  <a:gd name="connsiteX7" fmla="*/ 9098 w 10000"/>
                  <a:gd name="connsiteY7" fmla="*/ 4525 h 10025"/>
                  <a:gd name="connsiteX8" fmla="*/ 9399 w 10000"/>
                  <a:gd name="connsiteY8" fmla="*/ 4160 h 10025"/>
                  <a:gd name="connsiteX9" fmla="*/ 10000 w 10000"/>
                  <a:gd name="connsiteY9" fmla="*/ 3576 h 10025"/>
                  <a:gd name="connsiteX10" fmla="*/ 9774 w 10000"/>
                  <a:gd name="connsiteY10" fmla="*/ 3502 h 10025"/>
                  <a:gd name="connsiteX11" fmla="*/ 9399 w 10000"/>
                  <a:gd name="connsiteY11" fmla="*/ 3140 h 10025"/>
                  <a:gd name="connsiteX12" fmla="*/ 9173 w 10000"/>
                  <a:gd name="connsiteY12" fmla="*/ 2044 h 10025"/>
                  <a:gd name="connsiteX13" fmla="*/ 9173 w 10000"/>
                  <a:gd name="connsiteY13" fmla="*/ 1460 h 10025"/>
                  <a:gd name="connsiteX14" fmla="*/ 9098 w 10000"/>
                  <a:gd name="connsiteY14" fmla="*/ 729 h 10025"/>
                  <a:gd name="connsiteX15" fmla="*/ 8873 w 10000"/>
                  <a:gd name="connsiteY15" fmla="*/ 511 h 10025"/>
                  <a:gd name="connsiteX16" fmla="*/ 8497 w 10000"/>
                  <a:gd name="connsiteY16" fmla="*/ 219 h 10025"/>
                  <a:gd name="connsiteX17" fmla="*/ 8272 w 10000"/>
                  <a:gd name="connsiteY17" fmla="*/ 0 h 10025"/>
                  <a:gd name="connsiteX18" fmla="*/ 7821 w 10000"/>
                  <a:gd name="connsiteY18" fmla="*/ 293 h 10025"/>
                  <a:gd name="connsiteX19" fmla="*/ 7370 w 10000"/>
                  <a:gd name="connsiteY19" fmla="*/ 729 h 10025"/>
                  <a:gd name="connsiteX20" fmla="*/ 6769 w 10000"/>
                  <a:gd name="connsiteY20" fmla="*/ 729 h 10025"/>
                  <a:gd name="connsiteX21" fmla="*/ 5717 w 10000"/>
                  <a:gd name="connsiteY21" fmla="*/ 729 h 10025"/>
                  <a:gd name="connsiteX22" fmla="*/ 5717 w 10000"/>
                  <a:gd name="connsiteY22" fmla="*/ 658 h 10025"/>
                  <a:gd name="connsiteX23" fmla="*/ 5643 w 10000"/>
                  <a:gd name="connsiteY23" fmla="*/ 729 h 10025"/>
                  <a:gd name="connsiteX24" fmla="*/ 1961 w 10000"/>
                  <a:gd name="connsiteY24" fmla="*/ 729 h 10025"/>
                  <a:gd name="connsiteX25" fmla="*/ 1961 w 10000"/>
                  <a:gd name="connsiteY25" fmla="*/ 2263 h 10025"/>
                  <a:gd name="connsiteX26" fmla="*/ 1285 w 10000"/>
                  <a:gd name="connsiteY26" fmla="*/ 2263 h 10025"/>
                  <a:gd name="connsiteX27" fmla="*/ 1285 w 10000"/>
                  <a:gd name="connsiteY27" fmla="*/ 2556 h 10025"/>
                  <a:gd name="connsiteX28" fmla="*/ 1285 w 10000"/>
                  <a:gd name="connsiteY28" fmla="*/ 5179 h 10025"/>
                  <a:gd name="connsiteX29" fmla="*/ 1135 w 10000"/>
                  <a:gd name="connsiteY29" fmla="*/ 5327 h 10025"/>
                  <a:gd name="connsiteX30" fmla="*/ 684 w 10000"/>
                  <a:gd name="connsiteY30" fmla="*/ 5621 h 10025"/>
                  <a:gd name="connsiteX31" fmla="*/ 609 w 10000"/>
                  <a:gd name="connsiteY31" fmla="*/ 5986 h 10025"/>
                  <a:gd name="connsiteX32" fmla="*/ 384 w 10000"/>
                  <a:gd name="connsiteY32" fmla="*/ 6351 h 10025"/>
                  <a:gd name="connsiteX33" fmla="*/ 234 w 10000"/>
                  <a:gd name="connsiteY33" fmla="*/ 6935 h 10025"/>
                  <a:gd name="connsiteX34" fmla="*/ 8 w 10000"/>
                  <a:gd name="connsiteY34" fmla="*/ 7593 h 10025"/>
                  <a:gd name="connsiteX35" fmla="*/ 384 w 10000"/>
                  <a:gd name="connsiteY35" fmla="*/ 7664 h 10025"/>
                  <a:gd name="connsiteX36" fmla="*/ 458 w 10000"/>
                  <a:gd name="connsiteY36" fmla="*/ 8245 h 10025"/>
                  <a:gd name="connsiteX37" fmla="*/ 684 w 10000"/>
                  <a:gd name="connsiteY37" fmla="*/ 8831 h 10025"/>
                  <a:gd name="connsiteX38" fmla="*/ 1059 w 10000"/>
                  <a:gd name="connsiteY38" fmla="*/ 10000 h 10025"/>
                  <a:gd name="connsiteX39" fmla="*/ 5428 w 10000"/>
                  <a:gd name="connsiteY39" fmla="*/ 8984 h 10025"/>
                  <a:gd name="connsiteX40" fmla="*/ 5884 w 10000"/>
                  <a:gd name="connsiteY40" fmla="*/ 8740 h 10025"/>
                  <a:gd name="connsiteX41" fmla="*/ 6040 w 10000"/>
                  <a:gd name="connsiteY41" fmla="*/ 8368 h 10025"/>
                  <a:gd name="connsiteX42" fmla="*/ 6382 w 10000"/>
                  <a:gd name="connsiteY42" fmla="*/ 7982 h 10025"/>
                  <a:gd name="connsiteX43" fmla="*/ 6428 w 10000"/>
                  <a:gd name="connsiteY43" fmla="*/ 8181 h 10025"/>
                  <a:gd name="connsiteX44" fmla="*/ 6444 w 10000"/>
                  <a:gd name="connsiteY44" fmla="*/ 8428 h 10025"/>
                  <a:gd name="connsiteX45" fmla="*/ 6766 w 10000"/>
                  <a:gd name="connsiteY45" fmla="*/ 9268 h 10025"/>
                  <a:gd name="connsiteX0" fmla="*/ 7446 w 10000"/>
                  <a:gd name="connsiteY0" fmla="*/ 9488 h 10143"/>
                  <a:gd name="connsiteX1" fmla="*/ 7446 w 10000"/>
                  <a:gd name="connsiteY1" fmla="*/ 8978 h 10143"/>
                  <a:gd name="connsiteX2" fmla="*/ 7821 w 10000"/>
                  <a:gd name="connsiteY2" fmla="*/ 8978 h 10143"/>
                  <a:gd name="connsiteX3" fmla="*/ 8047 w 10000"/>
                  <a:gd name="connsiteY3" fmla="*/ 8029 h 10143"/>
                  <a:gd name="connsiteX4" fmla="*/ 8648 w 10000"/>
                  <a:gd name="connsiteY4" fmla="*/ 7444 h 10143"/>
                  <a:gd name="connsiteX5" fmla="*/ 8873 w 10000"/>
                  <a:gd name="connsiteY5" fmla="*/ 6351 h 10143"/>
                  <a:gd name="connsiteX6" fmla="*/ 8722 w 10000"/>
                  <a:gd name="connsiteY6" fmla="*/ 5768 h 10143"/>
                  <a:gd name="connsiteX7" fmla="*/ 9098 w 10000"/>
                  <a:gd name="connsiteY7" fmla="*/ 4525 h 10143"/>
                  <a:gd name="connsiteX8" fmla="*/ 9399 w 10000"/>
                  <a:gd name="connsiteY8" fmla="*/ 4160 h 10143"/>
                  <a:gd name="connsiteX9" fmla="*/ 10000 w 10000"/>
                  <a:gd name="connsiteY9" fmla="*/ 3576 h 10143"/>
                  <a:gd name="connsiteX10" fmla="*/ 9774 w 10000"/>
                  <a:gd name="connsiteY10" fmla="*/ 3502 h 10143"/>
                  <a:gd name="connsiteX11" fmla="*/ 9399 w 10000"/>
                  <a:gd name="connsiteY11" fmla="*/ 3140 h 10143"/>
                  <a:gd name="connsiteX12" fmla="*/ 9173 w 10000"/>
                  <a:gd name="connsiteY12" fmla="*/ 2044 h 10143"/>
                  <a:gd name="connsiteX13" fmla="*/ 9173 w 10000"/>
                  <a:gd name="connsiteY13" fmla="*/ 1460 h 10143"/>
                  <a:gd name="connsiteX14" fmla="*/ 9098 w 10000"/>
                  <a:gd name="connsiteY14" fmla="*/ 729 h 10143"/>
                  <a:gd name="connsiteX15" fmla="*/ 8873 w 10000"/>
                  <a:gd name="connsiteY15" fmla="*/ 511 h 10143"/>
                  <a:gd name="connsiteX16" fmla="*/ 8497 w 10000"/>
                  <a:gd name="connsiteY16" fmla="*/ 219 h 10143"/>
                  <a:gd name="connsiteX17" fmla="*/ 8272 w 10000"/>
                  <a:gd name="connsiteY17" fmla="*/ 0 h 10143"/>
                  <a:gd name="connsiteX18" fmla="*/ 7821 w 10000"/>
                  <a:gd name="connsiteY18" fmla="*/ 293 h 10143"/>
                  <a:gd name="connsiteX19" fmla="*/ 7370 w 10000"/>
                  <a:gd name="connsiteY19" fmla="*/ 729 h 10143"/>
                  <a:gd name="connsiteX20" fmla="*/ 6769 w 10000"/>
                  <a:gd name="connsiteY20" fmla="*/ 729 h 10143"/>
                  <a:gd name="connsiteX21" fmla="*/ 5717 w 10000"/>
                  <a:gd name="connsiteY21" fmla="*/ 729 h 10143"/>
                  <a:gd name="connsiteX22" fmla="*/ 5717 w 10000"/>
                  <a:gd name="connsiteY22" fmla="*/ 658 h 10143"/>
                  <a:gd name="connsiteX23" fmla="*/ 5643 w 10000"/>
                  <a:gd name="connsiteY23" fmla="*/ 729 h 10143"/>
                  <a:gd name="connsiteX24" fmla="*/ 1961 w 10000"/>
                  <a:gd name="connsiteY24" fmla="*/ 729 h 10143"/>
                  <a:gd name="connsiteX25" fmla="*/ 1961 w 10000"/>
                  <a:gd name="connsiteY25" fmla="*/ 2263 h 10143"/>
                  <a:gd name="connsiteX26" fmla="*/ 1285 w 10000"/>
                  <a:gd name="connsiteY26" fmla="*/ 2263 h 10143"/>
                  <a:gd name="connsiteX27" fmla="*/ 1285 w 10000"/>
                  <a:gd name="connsiteY27" fmla="*/ 2556 h 10143"/>
                  <a:gd name="connsiteX28" fmla="*/ 1285 w 10000"/>
                  <a:gd name="connsiteY28" fmla="*/ 5179 h 10143"/>
                  <a:gd name="connsiteX29" fmla="*/ 1135 w 10000"/>
                  <a:gd name="connsiteY29" fmla="*/ 5327 h 10143"/>
                  <a:gd name="connsiteX30" fmla="*/ 684 w 10000"/>
                  <a:gd name="connsiteY30" fmla="*/ 5621 h 10143"/>
                  <a:gd name="connsiteX31" fmla="*/ 609 w 10000"/>
                  <a:gd name="connsiteY31" fmla="*/ 5986 h 10143"/>
                  <a:gd name="connsiteX32" fmla="*/ 384 w 10000"/>
                  <a:gd name="connsiteY32" fmla="*/ 6351 h 10143"/>
                  <a:gd name="connsiteX33" fmla="*/ 234 w 10000"/>
                  <a:gd name="connsiteY33" fmla="*/ 6935 h 10143"/>
                  <a:gd name="connsiteX34" fmla="*/ 8 w 10000"/>
                  <a:gd name="connsiteY34" fmla="*/ 7593 h 10143"/>
                  <a:gd name="connsiteX35" fmla="*/ 384 w 10000"/>
                  <a:gd name="connsiteY35" fmla="*/ 7664 h 10143"/>
                  <a:gd name="connsiteX36" fmla="*/ 458 w 10000"/>
                  <a:gd name="connsiteY36" fmla="*/ 8245 h 10143"/>
                  <a:gd name="connsiteX37" fmla="*/ 684 w 10000"/>
                  <a:gd name="connsiteY37" fmla="*/ 8831 h 10143"/>
                  <a:gd name="connsiteX38" fmla="*/ 1059 w 10000"/>
                  <a:gd name="connsiteY38" fmla="*/ 10000 h 10143"/>
                  <a:gd name="connsiteX39" fmla="*/ 1068 w 10000"/>
                  <a:gd name="connsiteY39" fmla="*/ 10012 h 10143"/>
                  <a:gd name="connsiteX40" fmla="*/ 5428 w 10000"/>
                  <a:gd name="connsiteY40" fmla="*/ 8984 h 10143"/>
                  <a:gd name="connsiteX41" fmla="*/ 5884 w 10000"/>
                  <a:gd name="connsiteY41" fmla="*/ 8740 h 10143"/>
                  <a:gd name="connsiteX42" fmla="*/ 6040 w 10000"/>
                  <a:gd name="connsiteY42" fmla="*/ 8368 h 10143"/>
                  <a:gd name="connsiteX43" fmla="*/ 6382 w 10000"/>
                  <a:gd name="connsiteY43" fmla="*/ 7982 h 10143"/>
                  <a:gd name="connsiteX44" fmla="*/ 6428 w 10000"/>
                  <a:gd name="connsiteY44" fmla="*/ 8181 h 10143"/>
                  <a:gd name="connsiteX45" fmla="*/ 6444 w 10000"/>
                  <a:gd name="connsiteY45" fmla="*/ 8428 h 10143"/>
                  <a:gd name="connsiteX46" fmla="*/ 6766 w 10000"/>
                  <a:gd name="connsiteY46" fmla="*/ 9268 h 10143"/>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115"/>
                  <a:gd name="connsiteX1" fmla="*/ 7446 w 10000"/>
                  <a:gd name="connsiteY1" fmla="*/ 8978 h 10115"/>
                  <a:gd name="connsiteX2" fmla="*/ 7821 w 10000"/>
                  <a:gd name="connsiteY2" fmla="*/ 8978 h 10115"/>
                  <a:gd name="connsiteX3" fmla="*/ 8047 w 10000"/>
                  <a:gd name="connsiteY3" fmla="*/ 8029 h 10115"/>
                  <a:gd name="connsiteX4" fmla="*/ 8648 w 10000"/>
                  <a:gd name="connsiteY4" fmla="*/ 7444 h 10115"/>
                  <a:gd name="connsiteX5" fmla="*/ 8873 w 10000"/>
                  <a:gd name="connsiteY5" fmla="*/ 6351 h 10115"/>
                  <a:gd name="connsiteX6" fmla="*/ 8722 w 10000"/>
                  <a:gd name="connsiteY6" fmla="*/ 5768 h 10115"/>
                  <a:gd name="connsiteX7" fmla="*/ 9098 w 10000"/>
                  <a:gd name="connsiteY7" fmla="*/ 4525 h 10115"/>
                  <a:gd name="connsiteX8" fmla="*/ 9399 w 10000"/>
                  <a:gd name="connsiteY8" fmla="*/ 4160 h 10115"/>
                  <a:gd name="connsiteX9" fmla="*/ 10000 w 10000"/>
                  <a:gd name="connsiteY9" fmla="*/ 3576 h 10115"/>
                  <a:gd name="connsiteX10" fmla="*/ 9774 w 10000"/>
                  <a:gd name="connsiteY10" fmla="*/ 3502 h 10115"/>
                  <a:gd name="connsiteX11" fmla="*/ 9399 w 10000"/>
                  <a:gd name="connsiteY11" fmla="*/ 3140 h 10115"/>
                  <a:gd name="connsiteX12" fmla="*/ 9173 w 10000"/>
                  <a:gd name="connsiteY12" fmla="*/ 2044 h 10115"/>
                  <a:gd name="connsiteX13" fmla="*/ 9173 w 10000"/>
                  <a:gd name="connsiteY13" fmla="*/ 1460 h 10115"/>
                  <a:gd name="connsiteX14" fmla="*/ 9098 w 10000"/>
                  <a:gd name="connsiteY14" fmla="*/ 729 h 10115"/>
                  <a:gd name="connsiteX15" fmla="*/ 8873 w 10000"/>
                  <a:gd name="connsiteY15" fmla="*/ 511 h 10115"/>
                  <a:gd name="connsiteX16" fmla="*/ 8497 w 10000"/>
                  <a:gd name="connsiteY16" fmla="*/ 219 h 10115"/>
                  <a:gd name="connsiteX17" fmla="*/ 8272 w 10000"/>
                  <a:gd name="connsiteY17" fmla="*/ 0 h 10115"/>
                  <a:gd name="connsiteX18" fmla="*/ 7821 w 10000"/>
                  <a:gd name="connsiteY18" fmla="*/ 293 h 10115"/>
                  <a:gd name="connsiteX19" fmla="*/ 7370 w 10000"/>
                  <a:gd name="connsiteY19" fmla="*/ 729 h 10115"/>
                  <a:gd name="connsiteX20" fmla="*/ 6769 w 10000"/>
                  <a:gd name="connsiteY20" fmla="*/ 729 h 10115"/>
                  <a:gd name="connsiteX21" fmla="*/ 5717 w 10000"/>
                  <a:gd name="connsiteY21" fmla="*/ 729 h 10115"/>
                  <a:gd name="connsiteX22" fmla="*/ 5717 w 10000"/>
                  <a:gd name="connsiteY22" fmla="*/ 658 h 10115"/>
                  <a:gd name="connsiteX23" fmla="*/ 5643 w 10000"/>
                  <a:gd name="connsiteY23" fmla="*/ 729 h 10115"/>
                  <a:gd name="connsiteX24" fmla="*/ 1961 w 10000"/>
                  <a:gd name="connsiteY24" fmla="*/ 729 h 10115"/>
                  <a:gd name="connsiteX25" fmla="*/ 1961 w 10000"/>
                  <a:gd name="connsiteY25" fmla="*/ 2263 h 10115"/>
                  <a:gd name="connsiteX26" fmla="*/ 1285 w 10000"/>
                  <a:gd name="connsiteY26" fmla="*/ 2263 h 10115"/>
                  <a:gd name="connsiteX27" fmla="*/ 1285 w 10000"/>
                  <a:gd name="connsiteY27" fmla="*/ 2556 h 10115"/>
                  <a:gd name="connsiteX28" fmla="*/ 1285 w 10000"/>
                  <a:gd name="connsiteY28" fmla="*/ 5179 h 10115"/>
                  <a:gd name="connsiteX29" fmla="*/ 1135 w 10000"/>
                  <a:gd name="connsiteY29" fmla="*/ 5327 h 10115"/>
                  <a:gd name="connsiteX30" fmla="*/ 684 w 10000"/>
                  <a:gd name="connsiteY30" fmla="*/ 5621 h 10115"/>
                  <a:gd name="connsiteX31" fmla="*/ 609 w 10000"/>
                  <a:gd name="connsiteY31" fmla="*/ 5986 h 10115"/>
                  <a:gd name="connsiteX32" fmla="*/ 384 w 10000"/>
                  <a:gd name="connsiteY32" fmla="*/ 6351 h 10115"/>
                  <a:gd name="connsiteX33" fmla="*/ 234 w 10000"/>
                  <a:gd name="connsiteY33" fmla="*/ 6935 h 10115"/>
                  <a:gd name="connsiteX34" fmla="*/ 8 w 10000"/>
                  <a:gd name="connsiteY34" fmla="*/ 7593 h 10115"/>
                  <a:gd name="connsiteX35" fmla="*/ 384 w 10000"/>
                  <a:gd name="connsiteY35" fmla="*/ 7664 h 10115"/>
                  <a:gd name="connsiteX36" fmla="*/ 458 w 10000"/>
                  <a:gd name="connsiteY36" fmla="*/ 8245 h 10115"/>
                  <a:gd name="connsiteX37" fmla="*/ 684 w 10000"/>
                  <a:gd name="connsiteY37" fmla="*/ 8831 h 10115"/>
                  <a:gd name="connsiteX38" fmla="*/ 1059 w 10000"/>
                  <a:gd name="connsiteY38" fmla="*/ 10000 h 10115"/>
                  <a:gd name="connsiteX39" fmla="*/ 3268 w 10000"/>
                  <a:gd name="connsiteY39" fmla="*/ 9947 h 10115"/>
                  <a:gd name="connsiteX40" fmla="*/ 5428 w 10000"/>
                  <a:gd name="connsiteY40" fmla="*/ 8984 h 10115"/>
                  <a:gd name="connsiteX41" fmla="*/ 5884 w 10000"/>
                  <a:gd name="connsiteY41" fmla="*/ 8740 h 10115"/>
                  <a:gd name="connsiteX42" fmla="*/ 6040 w 10000"/>
                  <a:gd name="connsiteY42" fmla="*/ 8368 h 10115"/>
                  <a:gd name="connsiteX43" fmla="*/ 6382 w 10000"/>
                  <a:gd name="connsiteY43" fmla="*/ 7982 h 10115"/>
                  <a:gd name="connsiteX44" fmla="*/ 6428 w 10000"/>
                  <a:gd name="connsiteY44" fmla="*/ 8181 h 10115"/>
                  <a:gd name="connsiteX45" fmla="*/ 6444 w 10000"/>
                  <a:gd name="connsiteY45" fmla="*/ 8428 h 10115"/>
                  <a:gd name="connsiteX46" fmla="*/ 6766 w 10000"/>
                  <a:gd name="connsiteY46" fmla="*/ 9268 h 10115"/>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28 w 10000"/>
                  <a:gd name="connsiteY40" fmla="*/ 8984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409 w 10000"/>
                  <a:gd name="connsiteY40" fmla="*/ 8947 h 10039"/>
                  <a:gd name="connsiteX41" fmla="*/ 5884 w 10000"/>
                  <a:gd name="connsiteY41" fmla="*/ 8740 h 10039"/>
                  <a:gd name="connsiteX42" fmla="*/ 6040 w 10000"/>
                  <a:gd name="connsiteY42" fmla="*/ 8368 h 10039"/>
                  <a:gd name="connsiteX43" fmla="*/ 6382 w 10000"/>
                  <a:gd name="connsiteY43" fmla="*/ 7982 h 10039"/>
                  <a:gd name="connsiteX44" fmla="*/ 6428 w 10000"/>
                  <a:gd name="connsiteY44" fmla="*/ 8181 h 10039"/>
                  <a:gd name="connsiteX45" fmla="*/ 6444 w 10000"/>
                  <a:gd name="connsiteY45" fmla="*/ 8428 h 10039"/>
                  <a:gd name="connsiteX46" fmla="*/ 6766 w 10000"/>
                  <a:gd name="connsiteY46"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5016 w 10000"/>
                  <a:gd name="connsiteY40" fmla="*/ 9302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39"/>
                  <a:gd name="connsiteX1" fmla="*/ 7446 w 10000"/>
                  <a:gd name="connsiteY1" fmla="*/ 8978 h 10039"/>
                  <a:gd name="connsiteX2" fmla="*/ 7821 w 10000"/>
                  <a:gd name="connsiteY2" fmla="*/ 8978 h 10039"/>
                  <a:gd name="connsiteX3" fmla="*/ 8047 w 10000"/>
                  <a:gd name="connsiteY3" fmla="*/ 8029 h 10039"/>
                  <a:gd name="connsiteX4" fmla="*/ 8648 w 10000"/>
                  <a:gd name="connsiteY4" fmla="*/ 7444 h 10039"/>
                  <a:gd name="connsiteX5" fmla="*/ 8873 w 10000"/>
                  <a:gd name="connsiteY5" fmla="*/ 6351 h 10039"/>
                  <a:gd name="connsiteX6" fmla="*/ 8722 w 10000"/>
                  <a:gd name="connsiteY6" fmla="*/ 5768 h 10039"/>
                  <a:gd name="connsiteX7" fmla="*/ 9098 w 10000"/>
                  <a:gd name="connsiteY7" fmla="*/ 4525 h 10039"/>
                  <a:gd name="connsiteX8" fmla="*/ 9399 w 10000"/>
                  <a:gd name="connsiteY8" fmla="*/ 4160 h 10039"/>
                  <a:gd name="connsiteX9" fmla="*/ 10000 w 10000"/>
                  <a:gd name="connsiteY9" fmla="*/ 3576 h 10039"/>
                  <a:gd name="connsiteX10" fmla="*/ 9774 w 10000"/>
                  <a:gd name="connsiteY10" fmla="*/ 3502 h 10039"/>
                  <a:gd name="connsiteX11" fmla="*/ 9399 w 10000"/>
                  <a:gd name="connsiteY11" fmla="*/ 3140 h 10039"/>
                  <a:gd name="connsiteX12" fmla="*/ 9173 w 10000"/>
                  <a:gd name="connsiteY12" fmla="*/ 2044 h 10039"/>
                  <a:gd name="connsiteX13" fmla="*/ 9173 w 10000"/>
                  <a:gd name="connsiteY13" fmla="*/ 1460 h 10039"/>
                  <a:gd name="connsiteX14" fmla="*/ 9098 w 10000"/>
                  <a:gd name="connsiteY14" fmla="*/ 729 h 10039"/>
                  <a:gd name="connsiteX15" fmla="*/ 8873 w 10000"/>
                  <a:gd name="connsiteY15" fmla="*/ 511 h 10039"/>
                  <a:gd name="connsiteX16" fmla="*/ 8497 w 10000"/>
                  <a:gd name="connsiteY16" fmla="*/ 219 h 10039"/>
                  <a:gd name="connsiteX17" fmla="*/ 8272 w 10000"/>
                  <a:gd name="connsiteY17" fmla="*/ 0 h 10039"/>
                  <a:gd name="connsiteX18" fmla="*/ 7821 w 10000"/>
                  <a:gd name="connsiteY18" fmla="*/ 293 h 10039"/>
                  <a:gd name="connsiteX19" fmla="*/ 7370 w 10000"/>
                  <a:gd name="connsiteY19" fmla="*/ 729 h 10039"/>
                  <a:gd name="connsiteX20" fmla="*/ 6769 w 10000"/>
                  <a:gd name="connsiteY20" fmla="*/ 729 h 10039"/>
                  <a:gd name="connsiteX21" fmla="*/ 5717 w 10000"/>
                  <a:gd name="connsiteY21" fmla="*/ 729 h 10039"/>
                  <a:gd name="connsiteX22" fmla="*/ 5717 w 10000"/>
                  <a:gd name="connsiteY22" fmla="*/ 658 h 10039"/>
                  <a:gd name="connsiteX23" fmla="*/ 5643 w 10000"/>
                  <a:gd name="connsiteY23" fmla="*/ 729 h 10039"/>
                  <a:gd name="connsiteX24" fmla="*/ 1961 w 10000"/>
                  <a:gd name="connsiteY24" fmla="*/ 729 h 10039"/>
                  <a:gd name="connsiteX25" fmla="*/ 1961 w 10000"/>
                  <a:gd name="connsiteY25" fmla="*/ 2263 h 10039"/>
                  <a:gd name="connsiteX26" fmla="*/ 1285 w 10000"/>
                  <a:gd name="connsiteY26" fmla="*/ 2263 h 10039"/>
                  <a:gd name="connsiteX27" fmla="*/ 1285 w 10000"/>
                  <a:gd name="connsiteY27" fmla="*/ 2556 h 10039"/>
                  <a:gd name="connsiteX28" fmla="*/ 1285 w 10000"/>
                  <a:gd name="connsiteY28" fmla="*/ 5179 h 10039"/>
                  <a:gd name="connsiteX29" fmla="*/ 1135 w 10000"/>
                  <a:gd name="connsiteY29" fmla="*/ 5327 h 10039"/>
                  <a:gd name="connsiteX30" fmla="*/ 684 w 10000"/>
                  <a:gd name="connsiteY30" fmla="*/ 5621 h 10039"/>
                  <a:gd name="connsiteX31" fmla="*/ 609 w 10000"/>
                  <a:gd name="connsiteY31" fmla="*/ 5986 h 10039"/>
                  <a:gd name="connsiteX32" fmla="*/ 384 w 10000"/>
                  <a:gd name="connsiteY32" fmla="*/ 6351 h 10039"/>
                  <a:gd name="connsiteX33" fmla="*/ 234 w 10000"/>
                  <a:gd name="connsiteY33" fmla="*/ 6935 h 10039"/>
                  <a:gd name="connsiteX34" fmla="*/ 8 w 10000"/>
                  <a:gd name="connsiteY34" fmla="*/ 7593 h 10039"/>
                  <a:gd name="connsiteX35" fmla="*/ 384 w 10000"/>
                  <a:gd name="connsiteY35" fmla="*/ 7664 h 10039"/>
                  <a:gd name="connsiteX36" fmla="*/ 458 w 10000"/>
                  <a:gd name="connsiteY36" fmla="*/ 8245 h 10039"/>
                  <a:gd name="connsiteX37" fmla="*/ 684 w 10000"/>
                  <a:gd name="connsiteY37" fmla="*/ 8831 h 10039"/>
                  <a:gd name="connsiteX38" fmla="*/ 1059 w 10000"/>
                  <a:gd name="connsiteY38" fmla="*/ 10000 h 10039"/>
                  <a:gd name="connsiteX39" fmla="*/ 4939 w 10000"/>
                  <a:gd name="connsiteY39" fmla="*/ 9433 h 10039"/>
                  <a:gd name="connsiteX40" fmla="*/ 4958 w 10000"/>
                  <a:gd name="connsiteY40" fmla="*/ 9255 h 10039"/>
                  <a:gd name="connsiteX41" fmla="*/ 5409 w 10000"/>
                  <a:gd name="connsiteY41" fmla="*/ 8947 h 10039"/>
                  <a:gd name="connsiteX42" fmla="*/ 5884 w 10000"/>
                  <a:gd name="connsiteY42" fmla="*/ 8740 h 10039"/>
                  <a:gd name="connsiteX43" fmla="*/ 6040 w 10000"/>
                  <a:gd name="connsiteY43" fmla="*/ 8368 h 10039"/>
                  <a:gd name="connsiteX44" fmla="*/ 6382 w 10000"/>
                  <a:gd name="connsiteY44" fmla="*/ 7982 h 10039"/>
                  <a:gd name="connsiteX45" fmla="*/ 6428 w 10000"/>
                  <a:gd name="connsiteY45" fmla="*/ 8181 h 10039"/>
                  <a:gd name="connsiteX46" fmla="*/ 6444 w 10000"/>
                  <a:gd name="connsiteY46" fmla="*/ 8428 h 10039"/>
                  <a:gd name="connsiteX47" fmla="*/ 6766 w 10000"/>
                  <a:gd name="connsiteY47" fmla="*/ 9268 h 10039"/>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4958 w 10000"/>
                  <a:gd name="connsiteY40" fmla="*/ 9255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09 w 10000"/>
                  <a:gd name="connsiteY41" fmla="*/ 8947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56"/>
                  <a:gd name="connsiteX1" fmla="*/ 7446 w 10000"/>
                  <a:gd name="connsiteY1" fmla="*/ 8978 h 10056"/>
                  <a:gd name="connsiteX2" fmla="*/ 7821 w 10000"/>
                  <a:gd name="connsiteY2" fmla="*/ 8978 h 10056"/>
                  <a:gd name="connsiteX3" fmla="*/ 8047 w 10000"/>
                  <a:gd name="connsiteY3" fmla="*/ 8029 h 10056"/>
                  <a:gd name="connsiteX4" fmla="*/ 8648 w 10000"/>
                  <a:gd name="connsiteY4" fmla="*/ 7444 h 10056"/>
                  <a:gd name="connsiteX5" fmla="*/ 8873 w 10000"/>
                  <a:gd name="connsiteY5" fmla="*/ 6351 h 10056"/>
                  <a:gd name="connsiteX6" fmla="*/ 8722 w 10000"/>
                  <a:gd name="connsiteY6" fmla="*/ 5768 h 10056"/>
                  <a:gd name="connsiteX7" fmla="*/ 9098 w 10000"/>
                  <a:gd name="connsiteY7" fmla="*/ 4525 h 10056"/>
                  <a:gd name="connsiteX8" fmla="*/ 9399 w 10000"/>
                  <a:gd name="connsiteY8" fmla="*/ 4160 h 10056"/>
                  <a:gd name="connsiteX9" fmla="*/ 10000 w 10000"/>
                  <a:gd name="connsiteY9" fmla="*/ 3576 h 10056"/>
                  <a:gd name="connsiteX10" fmla="*/ 9774 w 10000"/>
                  <a:gd name="connsiteY10" fmla="*/ 3502 h 10056"/>
                  <a:gd name="connsiteX11" fmla="*/ 9399 w 10000"/>
                  <a:gd name="connsiteY11" fmla="*/ 3140 h 10056"/>
                  <a:gd name="connsiteX12" fmla="*/ 9173 w 10000"/>
                  <a:gd name="connsiteY12" fmla="*/ 2044 h 10056"/>
                  <a:gd name="connsiteX13" fmla="*/ 9173 w 10000"/>
                  <a:gd name="connsiteY13" fmla="*/ 1460 h 10056"/>
                  <a:gd name="connsiteX14" fmla="*/ 9098 w 10000"/>
                  <a:gd name="connsiteY14" fmla="*/ 729 h 10056"/>
                  <a:gd name="connsiteX15" fmla="*/ 8873 w 10000"/>
                  <a:gd name="connsiteY15" fmla="*/ 511 h 10056"/>
                  <a:gd name="connsiteX16" fmla="*/ 8497 w 10000"/>
                  <a:gd name="connsiteY16" fmla="*/ 219 h 10056"/>
                  <a:gd name="connsiteX17" fmla="*/ 8272 w 10000"/>
                  <a:gd name="connsiteY17" fmla="*/ 0 h 10056"/>
                  <a:gd name="connsiteX18" fmla="*/ 7821 w 10000"/>
                  <a:gd name="connsiteY18" fmla="*/ 293 h 10056"/>
                  <a:gd name="connsiteX19" fmla="*/ 7370 w 10000"/>
                  <a:gd name="connsiteY19" fmla="*/ 729 h 10056"/>
                  <a:gd name="connsiteX20" fmla="*/ 6769 w 10000"/>
                  <a:gd name="connsiteY20" fmla="*/ 729 h 10056"/>
                  <a:gd name="connsiteX21" fmla="*/ 5717 w 10000"/>
                  <a:gd name="connsiteY21" fmla="*/ 729 h 10056"/>
                  <a:gd name="connsiteX22" fmla="*/ 5717 w 10000"/>
                  <a:gd name="connsiteY22" fmla="*/ 658 h 10056"/>
                  <a:gd name="connsiteX23" fmla="*/ 5643 w 10000"/>
                  <a:gd name="connsiteY23" fmla="*/ 729 h 10056"/>
                  <a:gd name="connsiteX24" fmla="*/ 1961 w 10000"/>
                  <a:gd name="connsiteY24" fmla="*/ 729 h 10056"/>
                  <a:gd name="connsiteX25" fmla="*/ 1961 w 10000"/>
                  <a:gd name="connsiteY25" fmla="*/ 2263 h 10056"/>
                  <a:gd name="connsiteX26" fmla="*/ 1285 w 10000"/>
                  <a:gd name="connsiteY26" fmla="*/ 2263 h 10056"/>
                  <a:gd name="connsiteX27" fmla="*/ 1285 w 10000"/>
                  <a:gd name="connsiteY27" fmla="*/ 2556 h 10056"/>
                  <a:gd name="connsiteX28" fmla="*/ 1285 w 10000"/>
                  <a:gd name="connsiteY28" fmla="*/ 5179 h 10056"/>
                  <a:gd name="connsiteX29" fmla="*/ 1135 w 10000"/>
                  <a:gd name="connsiteY29" fmla="*/ 5327 h 10056"/>
                  <a:gd name="connsiteX30" fmla="*/ 684 w 10000"/>
                  <a:gd name="connsiteY30" fmla="*/ 5621 h 10056"/>
                  <a:gd name="connsiteX31" fmla="*/ 609 w 10000"/>
                  <a:gd name="connsiteY31" fmla="*/ 5986 h 10056"/>
                  <a:gd name="connsiteX32" fmla="*/ 384 w 10000"/>
                  <a:gd name="connsiteY32" fmla="*/ 6351 h 10056"/>
                  <a:gd name="connsiteX33" fmla="*/ 234 w 10000"/>
                  <a:gd name="connsiteY33" fmla="*/ 6935 h 10056"/>
                  <a:gd name="connsiteX34" fmla="*/ 8 w 10000"/>
                  <a:gd name="connsiteY34" fmla="*/ 7593 h 10056"/>
                  <a:gd name="connsiteX35" fmla="*/ 384 w 10000"/>
                  <a:gd name="connsiteY35" fmla="*/ 7664 h 10056"/>
                  <a:gd name="connsiteX36" fmla="*/ 458 w 10000"/>
                  <a:gd name="connsiteY36" fmla="*/ 8245 h 10056"/>
                  <a:gd name="connsiteX37" fmla="*/ 684 w 10000"/>
                  <a:gd name="connsiteY37" fmla="*/ 8831 h 10056"/>
                  <a:gd name="connsiteX38" fmla="*/ 1059 w 10000"/>
                  <a:gd name="connsiteY38" fmla="*/ 10000 h 10056"/>
                  <a:gd name="connsiteX39" fmla="*/ 4315 w 10000"/>
                  <a:gd name="connsiteY39" fmla="*/ 9657 h 10056"/>
                  <a:gd name="connsiteX40" fmla="*/ 5064 w 10000"/>
                  <a:gd name="connsiteY40" fmla="*/ 9274 h 10056"/>
                  <a:gd name="connsiteX41" fmla="*/ 5457 w 10000"/>
                  <a:gd name="connsiteY41" fmla="*/ 8984 h 10056"/>
                  <a:gd name="connsiteX42" fmla="*/ 5884 w 10000"/>
                  <a:gd name="connsiteY42" fmla="*/ 8740 h 10056"/>
                  <a:gd name="connsiteX43" fmla="*/ 6040 w 10000"/>
                  <a:gd name="connsiteY43" fmla="*/ 8368 h 10056"/>
                  <a:gd name="connsiteX44" fmla="*/ 6382 w 10000"/>
                  <a:gd name="connsiteY44" fmla="*/ 7982 h 10056"/>
                  <a:gd name="connsiteX45" fmla="*/ 6428 w 10000"/>
                  <a:gd name="connsiteY45" fmla="*/ 8181 h 10056"/>
                  <a:gd name="connsiteX46" fmla="*/ 6444 w 10000"/>
                  <a:gd name="connsiteY46" fmla="*/ 8428 h 10056"/>
                  <a:gd name="connsiteX47" fmla="*/ 6766 w 10000"/>
                  <a:gd name="connsiteY47" fmla="*/ 9268 h 10056"/>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274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4373 w 10000"/>
                  <a:gd name="connsiteY39" fmla="*/ 9246 h 10031"/>
                  <a:gd name="connsiteX40" fmla="*/ 5064 w 10000"/>
                  <a:gd name="connsiteY40" fmla="*/ 9311 h 10031"/>
                  <a:gd name="connsiteX41" fmla="*/ 5457 w 10000"/>
                  <a:gd name="connsiteY41" fmla="*/ 8984 h 10031"/>
                  <a:gd name="connsiteX42" fmla="*/ 5884 w 10000"/>
                  <a:gd name="connsiteY42" fmla="*/ 8740 h 10031"/>
                  <a:gd name="connsiteX43" fmla="*/ 6040 w 10000"/>
                  <a:gd name="connsiteY43" fmla="*/ 8368 h 10031"/>
                  <a:gd name="connsiteX44" fmla="*/ 6382 w 10000"/>
                  <a:gd name="connsiteY44" fmla="*/ 7982 h 10031"/>
                  <a:gd name="connsiteX45" fmla="*/ 6428 w 10000"/>
                  <a:gd name="connsiteY45" fmla="*/ 8181 h 10031"/>
                  <a:gd name="connsiteX46" fmla="*/ 6444 w 10000"/>
                  <a:gd name="connsiteY46" fmla="*/ 8428 h 10031"/>
                  <a:gd name="connsiteX47" fmla="*/ 6766 w 10000"/>
                  <a:gd name="connsiteY47" fmla="*/ 9268 h 10031"/>
                  <a:gd name="connsiteX0" fmla="*/ 7446 w 10000"/>
                  <a:gd name="connsiteY0" fmla="*/ 9488 h 10033"/>
                  <a:gd name="connsiteX1" fmla="*/ 7446 w 10000"/>
                  <a:gd name="connsiteY1" fmla="*/ 8978 h 10033"/>
                  <a:gd name="connsiteX2" fmla="*/ 7821 w 10000"/>
                  <a:gd name="connsiteY2" fmla="*/ 8978 h 10033"/>
                  <a:gd name="connsiteX3" fmla="*/ 8047 w 10000"/>
                  <a:gd name="connsiteY3" fmla="*/ 8029 h 10033"/>
                  <a:gd name="connsiteX4" fmla="*/ 8648 w 10000"/>
                  <a:gd name="connsiteY4" fmla="*/ 7444 h 10033"/>
                  <a:gd name="connsiteX5" fmla="*/ 8873 w 10000"/>
                  <a:gd name="connsiteY5" fmla="*/ 6351 h 10033"/>
                  <a:gd name="connsiteX6" fmla="*/ 8722 w 10000"/>
                  <a:gd name="connsiteY6" fmla="*/ 5768 h 10033"/>
                  <a:gd name="connsiteX7" fmla="*/ 9098 w 10000"/>
                  <a:gd name="connsiteY7" fmla="*/ 4525 h 10033"/>
                  <a:gd name="connsiteX8" fmla="*/ 9399 w 10000"/>
                  <a:gd name="connsiteY8" fmla="*/ 4160 h 10033"/>
                  <a:gd name="connsiteX9" fmla="*/ 10000 w 10000"/>
                  <a:gd name="connsiteY9" fmla="*/ 3576 h 10033"/>
                  <a:gd name="connsiteX10" fmla="*/ 9774 w 10000"/>
                  <a:gd name="connsiteY10" fmla="*/ 3502 h 10033"/>
                  <a:gd name="connsiteX11" fmla="*/ 9399 w 10000"/>
                  <a:gd name="connsiteY11" fmla="*/ 3140 h 10033"/>
                  <a:gd name="connsiteX12" fmla="*/ 9173 w 10000"/>
                  <a:gd name="connsiteY12" fmla="*/ 2044 h 10033"/>
                  <a:gd name="connsiteX13" fmla="*/ 9173 w 10000"/>
                  <a:gd name="connsiteY13" fmla="*/ 1460 h 10033"/>
                  <a:gd name="connsiteX14" fmla="*/ 9098 w 10000"/>
                  <a:gd name="connsiteY14" fmla="*/ 729 h 10033"/>
                  <a:gd name="connsiteX15" fmla="*/ 8873 w 10000"/>
                  <a:gd name="connsiteY15" fmla="*/ 511 h 10033"/>
                  <a:gd name="connsiteX16" fmla="*/ 8497 w 10000"/>
                  <a:gd name="connsiteY16" fmla="*/ 219 h 10033"/>
                  <a:gd name="connsiteX17" fmla="*/ 8272 w 10000"/>
                  <a:gd name="connsiteY17" fmla="*/ 0 h 10033"/>
                  <a:gd name="connsiteX18" fmla="*/ 7821 w 10000"/>
                  <a:gd name="connsiteY18" fmla="*/ 293 h 10033"/>
                  <a:gd name="connsiteX19" fmla="*/ 7370 w 10000"/>
                  <a:gd name="connsiteY19" fmla="*/ 729 h 10033"/>
                  <a:gd name="connsiteX20" fmla="*/ 6769 w 10000"/>
                  <a:gd name="connsiteY20" fmla="*/ 729 h 10033"/>
                  <a:gd name="connsiteX21" fmla="*/ 5717 w 10000"/>
                  <a:gd name="connsiteY21" fmla="*/ 729 h 10033"/>
                  <a:gd name="connsiteX22" fmla="*/ 5717 w 10000"/>
                  <a:gd name="connsiteY22" fmla="*/ 658 h 10033"/>
                  <a:gd name="connsiteX23" fmla="*/ 5643 w 10000"/>
                  <a:gd name="connsiteY23" fmla="*/ 729 h 10033"/>
                  <a:gd name="connsiteX24" fmla="*/ 1961 w 10000"/>
                  <a:gd name="connsiteY24" fmla="*/ 729 h 10033"/>
                  <a:gd name="connsiteX25" fmla="*/ 1961 w 10000"/>
                  <a:gd name="connsiteY25" fmla="*/ 2263 h 10033"/>
                  <a:gd name="connsiteX26" fmla="*/ 1285 w 10000"/>
                  <a:gd name="connsiteY26" fmla="*/ 2263 h 10033"/>
                  <a:gd name="connsiteX27" fmla="*/ 1285 w 10000"/>
                  <a:gd name="connsiteY27" fmla="*/ 2556 h 10033"/>
                  <a:gd name="connsiteX28" fmla="*/ 1285 w 10000"/>
                  <a:gd name="connsiteY28" fmla="*/ 5179 h 10033"/>
                  <a:gd name="connsiteX29" fmla="*/ 1135 w 10000"/>
                  <a:gd name="connsiteY29" fmla="*/ 5327 h 10033"/>
                  <a:gd name="connsiteX30" fmla="*/ 684 w 10000"/>
                  <a:gd name="connsiteY30" fmla="*/ 5621 h 10033"/>
                  <a:gd name="connsiteX31" fmla="*/ 609 w 10000"/>
                  <a:gd name="connsiteY31" fmla="*/ 5986 h 10033"/>
                  <a:gd name="connsiteX32" fmla="*/ 384 w 10000"/>
                  <a:gd name="connsiteY32" fmla="*/ 6351 h 10033"/>
                  <a:gd name="connsiteX33" fmla="*/ 234 w 10000"/>
                  <a:gd name="connsiteY33" fmla="*/ 6935 h 10033"/>
                  <a:gd name="connsiteX34" fmla="*/ 8 w 10000"/>
                  <a:gd name="connsiteY34" fmla="*/ 7593 h 10033"/>
                  <a:gd name="connsiteX35" fmla="*/ 384 w 10000"/>
                  <a:gd name="connsiteY35" fmla="*/ 7664 h 10033"/>
                  <a:gd name="connsiteX36" fmla="*/ 458 w 10000"/>
                  <a:gd name="connsiteY36" fmla="*/ 8245 h 10033"/>
                  <a:gd name="connsiteX37" fmla="*/ 684 w 10000"/>
                  <a:gd name="connsiteY37" fmla="*/ 8831 h 10033"/>
                  <a:gd name="connsiteX38" fmla="*/ 1059 w 10000"/>
                  <a:gd name="connsiteY38" fmla="*/ 10000 h 10033"/>
                  <a:gd name="connsiteX39" fmla="*/ 4373 w 10000"/>
                  <a:gd name="connsiteY39" fmla="*/ 9293 h 10033"/>
                  <a:gd name="connsiteX40" fmla="*/ 5064 w 10000"/>
                  <a:gd name="connsiteY40" fmla="*/ 9311 h 10033"/>
                  <a:gd name="connsiteX41" fmla="*/ 5457 w 10000"/>
                  <a:gd name="connsiteY41" fmla="*/ 8984 h 10033"/>
                  <a:gd name="connsiteX42" fmla="*/ 5884 w 10000"/>
                  <a:gd name="connsiteY42" fmla="*/ 8740 h 10033"/>
                  <a:gd name="connsiteX43" fmla="*/ 6040 w 10000"/>
                  <a:gd name="connsiteY43" fmla="*/ 8368 h 10033"/>
                  <a:gd name="connsiteX44" fmla="*/ 6382 w 10000"/>
                  <a:gd name="connsiteY44" fmla="*/ 7982 h 10033"/>
                  <a:gd name="connsiteX45" fmla="*/ 6428 w 10000"/>
                  <a:gd name="connsiteY45" fmla="*/ 8181 h 10033"/>
                  <a:gd name="connsiteX46" fmla="*/ 6444 w 10000"/>
                  <a:gd name="connsiteY46" fmla="*/ 8428 h 10033"/>
                  <a:gd name="connsiteX47" fmla="*/ 6766 w 10000"/>
                  <a:gd name="connsiteY47" fmla="*/ 9268 h 10033"/>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3729 w 10000"/>
                  <a:gd name="connsiteY39" fmla="*/ 9526 h 10015"/>
                  <a:gd name="connsiteX40" fmla="*/ 4373 w 10000"/>
                  <a:gd name="connsiteY40" fmla="*/ 9293 h 10015"/>
                  <a:gd name="connsiteX41" fmla="*/ 5064 w 10000"/>
                  <a:gd name="connsiteY41" fmla="*/ 9311 h 10015"/>
                  <a:gd name="connsiteX42" fmla="*/ 5457 w 10000"/>
                  <a:gd name="connsiteY42" fmla="*/ 8984 h 10015"/>
                  <a:gd name="connsiteX43" fmla="*/ 5884 w 10000"/>
                  <a:gd name="connsiteY43" fmla="*/ 8740 h 10015"/>
                  <a:gd name="connsiteX44" fmla="*/ 6040 w 10000"/>
                  <a:gd name="connsiteY44" fmla="*/ 8368 h 10015"/>
                  <a:gd name="connsiteX45" fmla="*/ 6382 w 10000"/>
                  <a:gd name="connsiteY45" fmla="*/ 7982 h 10015"/>
                  <a:gd name="connsiteX46" fmla="*/ 6428 w 10000"/>
                  <a:gd name="connsiteY46" fmla="*/ 8181 h 10015"/>
                  <a:gd name="connsiteX47" fmla="*/ 6444 w 10000"/>
                  <a:gd name="connsiteY47" fmla="*/ 8428 h 10015"/>
                  <a:gd name="connsiteX48" fmla="*/ 6766 w 10000"/>
                  <a:gd name="connsiteY48" fmla="*/ 9268 h 10015"/>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373 w 10000"/>
                  <a:gd name="connsiteY40" fmla="*/ 9293 h 10020"/>
                  <a:gd name="connsiteX41" fmla="*/ 5064 w 10000"/>
                  <a:gd name="connsiteY41" fmla="*/ 9311 h 10020"/>
                  <a:gd name="connsiteX42" fmla="*/ 5457 w 10000"/>
                  <a:gd name="connsiteY42" fmla="*/ 8984 h 10020"/>
                  <a:gd name="connsiteX43" fmla="*/ 5884 w 10000"/>
                  <a:gd name="connsiteY43" fmla="*/ 8740 h 10020"/>
                  <a:gd name="connsiteX44" fmla="*/ 6040 w 10000"/>
                  <a:gd name="connsiteY44" fmla="*/ 8368 h 10020"/>
                  <a:gd name="connsiteX45" fmla="*/ 6382 w 10000"/>
                  <a:gd name="connsiteY45" fmla="*/ 7982 h 10020"/>
                  <a:gd name="connsiteX46" fmla="*/ 6428 w 10000"/>
                  <a:gd name="connsiteY46" fmla="*/ 8181 h 10020"/>
                  <a:gd name="connsiteX47" fmla="*/ 6444 w 10000"/>
                  <a:gd name="connsiteY47" fmla="*/ 8428 h 10020"/>
                  <a:gd name="connsiteX48" fmla="*/ 6766 w 10000"/>
                  <a:gd name="connsiteY48"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09 w 10000"/>
                  <a:gd name="connsiteY40" fmla="*/ 9592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20"/>
                  <a:gd name="connsiteX1" fmla="*/ 7446 w 10000"/>
                  <a:gd name="connsiteY1" fmla="*/ 8978 h 10020"/>
                  <a:gd name="connsiteX2" fmla="*/ 7821 w 10000"/>
                  <a:gd name="connsiteY2" fmla="*/ 8978 h 10020"/>
                  <a:gd name="connsiteX3" fmla="*/ 8047 w 10000"/>
                  <a:gd name="connsiteY3" fmla="*/ 8029 h 10020"/>
                  <a:gd name="connsiteX4" fmla="*/ 8648 w 10000"/>
                  <a:gd name="connsiteY4" fmla="*/ 7444 h 10020"/>
                  <a:gd name="connsiteX5" fmla="*/ 8873 w 10000"/>
                  <a:gd name="connsiteY5" fmla="*/ 6351 h 10020"/>
                  <a:gd name="connsiteX6" fmla="*/ 8722 w 10000"/>
                  <a:gd name="connsiteY6" fmla="*/ 5768 h 10020"/>
                  <a:gd name="connsiteX7" fmla="*/ 9098 w 10000"/>
                  <a:gd name="connsiteY7" fmla="*/ 4525 h 10020"/>
                  <a:gd name="connsiteX8" fmla="*/ 9399 w 10000"/>
                  <a:gd name="connsiteY8" fmla="*/ 4160 h 10020"/>
                  <a:gd name="connsiteX9" fmla="*/ 10000 w 10000"/>
                  <a:gd name="connsiteY9" fmla="*/ 3576 h 10020"/>
                  <a:gd name="connsiteX10" fmla="*/ 9774 w 10000"/>
                  <a:gd name="connsiteY10" fmla="*/ 3502 h 10020"/>
                  <a:gd name="connsiteX11" fmla="*/ 9399 w 10000"/>
                  <a:gd name="connsiteY11" fmla="*/ 3140 h 10020"/>
                  <a:gd name="connsiteX12" fmla="*/ 9173 w 10000"/>
                  <a:gd name="connsiteY12" fmla="*/ 2044 h 10020"/>
                  <a:gd name="connsiteX13" fmla="*/ 9173 w 10000"/>
                  <a:gd name="connsiteY13" fmla="*/ 1460 h 10020"/>
                  <a:gd name="connsiteX14" fmla="*/ 9098 w 10000"/>
                  <a:gd name="connsiteY14" fmla="*/ 729 h 10020"/>
                  <a:gd name="connsiteX15" fmla="*/ 8873 w 10000"/>
                  <a:gd name="connsiteY15" fmla="*/ 511 h 10020"/>
                  <a:gd name="connsiteX16" fmla="*/ 8497 w 10000"/>
                  <a:gd name="connsiteY16" fmla="*/ 219 h 10020"/>
                  <a:gd name="connsiteX17" fmla="*/ 8272 w 10000"/>
                  <a:gd name="connsiteY17" fmla="*/ 0 h 10020"/>
                  <a:gd name="connsiteX18" fmla="*/ 7821 w 10000"/>
                  <a:gd name="connsiteY18" fmla="*/ 293 h 10020"/>
                  <a:gd name="connsiteX19" fmla="*/ 7370 w 10000"/>
                  <a:gd name="connsiteY19" fmla="*/ 729 h 10020"/>
                  <a:gd name="connsiteX20" fmla="*/ 6769 w 10000"/>
                  <a:gd name="connsiteY20" fmla="*/ 729 h 10020"/>
                  <a:gd name="connsiteX21" fmla="*/ 5717 w 10000"/>
                  <a:gd name="connsiteY21" fmla="*/ 729 h 10020"/>
                  <a:gd name="connsiteX22" fmla="*/ 5717 w 10000"/>
                  <a:gd name="connsiteY22" fmla="*/ 658 h 10020"/>
                  <a:gd name="connsiteX23" fmla="*/ 5643 w 10000"/>
                  <a:gd name="connsiteY23" fmla="*/ 729 h 10020"/>
                  <a:gd name="connsiteX24" fmla="*/ 1961 w 10000"/>
                  <a:gd name="connsiteY24" fmla="*/ 729 h 10020"/>
                  <a:gd name="connsiteX25" fmla="*/ 1961 w 10000"/>
                  <a:gd name="connsiteY25" fmla="*/ 2263 h 10020"/>
                  <a:gd name="connsiteX26" fmla="*/ 1285 w 10000"/>
                  <a:gd name="connsiteY26" fmla="*/ 2263 h 10020"/>
                  <a:gd name="connsiteX27" fmla="*/ 1285 w 10000"/>
                  <a:gd name="connsiteY27" fmla="*/ 2556 h 10020"/>
                  <a:gd name="connsiteX28" fmla="*/ 1285 w 10000"/>
                  <a:gd name="connsiteY28" fmla="*/ 5179 h 10020"/>
                  <a:gd name="connsiteX29" fmla="*/ 1135 w 10000"/>
                  <a:gd name="connsiteY29" fmla="*/ 5327 h 10020"/>
                  <a:gd name="connsiteX30" fmla="*/ 684 w 10000"/>
                  <a:gd name="connsiteY30" fmla="*/ 5621 h 10020"/>
                  <a:gd name="connsiteX31" fmla="*/ 609 w 10000"/>
                  <a:gd name="connsiteY31" fmla="*/ 5986 h 10020"/>
                  <a:gd name="connsiteX32" fmla="*/ 384 w 10000"/>
                  <a:gd name="connsiteY32" fmla="*/ 6351 h 10020"/>
                  <a:gd name="connsiteX33" fmla="*/ 234 w 10000"/>
                  <a:gd name="connsiteY33" fmla="*/ 6935 h 10020"/>
                  <a:gd name="connsiteX34" fmla="*/ 8 w 10000"/>
                  <a:gd name="connsiteY34" fmla="*/ 7593 h 10020"/>
                  <a:gd name="connsiteX35" fmla="*/ 384 w 10000"/>
                  <a:gd name="connsiteY35" fmla="*/ 7664 h 10020"/>
                  <a:gd name="connsiteX36" fmla="*/ 458 w 10000"/>
                  <a:gd name="connsiteY36" fmla="*/ 8245 h 10020"/>
                  <a:gd name="connsiteX37" fmla="*/ 684 w 10000"/>
                  <a:gd name="connsiteY37" fmla="*/ 8831 h 10020"/>
                  <a:gd name="connsiteX38" fmla="*/ 1059 w 10000"/>
                  <a:gd name="connsiteY38" fmla="*/ 10000 h 10020"/>
                  <a:gd name="connsiteX39" fmla="*/ 3940 w 10000"/>
                  <a:gd name="connsiteY39" fmla="*/ 9647 h 10020"/>
                  <a:gd name="connsiteX40" fmla="*/ 4219 w 10000"/>
                  <a:gd name="connsiteY40" fmla="*/ 9620 h 10020"/>
                  <a:gd name="connsiteX41" fmla="*/ 4373 w 10000"/>
                  <a:gd name="connsiteY41" fmla="*/ 9293 h 10020"/>
                  <a:gd name="connsiteX42" fmla="*/ 5064 w 10000"/>
                  <a:gd name="connsiteY42" fmla="*/ 9311 h 10020"/>
                  <a:gd name="connsiteX43" fmla="*/ 5457 w 10000"/>
                  <a:gd name="connsiteY43" fmla="*/ 8984 h 10020"/>
                  <a:gd name="connsiteX44" fmla="*/ 5884 w 10000"/>
                  <a:gd name="connsiteY44" fmla="*/ 8740 h 10020"/>
                  <a:gd name="connsiteX45" fmla="*/ 6040 w 10000"/>
                  <a:gd name="connsiteY45" fmla="*/ 8368 h 10020"/>
                  <a:gd name="connsiteX46" fmla="*/ 6382 w 10000"/>
                  <a:gd name="connsiteY46" fmla="*/ 7982 h 10020"/>
                  <a:gd name="connsiteX47" fmla="*/ 6428 w 10000"/>
                  <a:gd name="connsiteY47" fmla="*/ 8181 h 10020"/>
                  <a:gd name="connsiteX48" fmla="*/ 6444 w 10000"/>
                  <a:gd name="connsiteY48" fmla="*/ 8428 h 10020"/>
                  <a:gd name="connsiteX49" fmla="*/ 6766 w 10000"/>
                  <a:gd name="connsiteY49" fmla="*/ 9268 h 10020"/>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4219 w 10000"/>
                  <a:gd name="connsiteY40" fmla="*/ 9620 h 10031"/>
                  <a:gd name="connsiteX41" fmla="*/ 4373 w 10000"/>
                  <a:gd name="connsiteY41" fmla="*/ 9293 h 10031"/>
                  <a:gd name="connsiteX42" fmla="*/ 5064 w 10000"/>
                  <a:gd name="connsiteY42" fmla="*/ 9311 h 10031"/>
                  <a:gd name="connsiteX43" fmla="*/ 5457 w 10000"/>
                  <a:gd name="connsiteY43" fmla="*/ 8984 h 10031"/>
                  <a:gd name="connsiteX44" fmla="*/ 5884 w 10000"/>
                  <a:gd name="connsiteY44" fmla="*/ 8740 h 10031"/>
                  <a:gd name="connsiteX45" fmla="*/ 6040 w 10000"/>
                  <a:gd name="connsiteY45" fmla="*/ 8368 h 10031"/>
                  <a:gd name="connsiteX46" fmla="*/ 6382 w 10000"/>
                  <a:gd name="connsiteY46" fmla="*/ 7982 h 10031"/>
                  <a:gd name="connsiteX47" fmla="*/ 6428 w 10000"/>
                  <a:gd name="connsiteY47" fmla="*/ 8181 h 10031"/>
                  <a:gd name="connsiteX48" fmla="*/ 6444 w 10000"/>
                  <a:gd name="connsiteY48" fmla="*/ 8428 h 10031"/>
                  <a:gd name="connsiteX49" fmla="*/ 6766 w 10000"/>
                  <a:gd name="connsiteY49"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863 w 10000"/>
                  <a:gd name="connsiteY40" fmla="*/ 9788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31"/>
                  <a:gd name="connsiteX1" fmla="*/ 7446 w 10000"/>
                  <a:gd name="connsiteY1" fmla="*/ 8978 h 10031"/>
                  <a:gd name="connsiteX2" fmla="*/ 7821 w 10000"/>
                  <a:gd name="connsiteY2" fmla="*/ 8978 h 10031"/>
                  <a:gd name="connsiteX3" fmla="*/ 8047 w 10000"/>
                  <a:gd name="connsiteY3" fmla="*/ 8029 h 10031"/>
                  <a:gd name="connsiteX4" fmla="*/ 8648 w 10000"/>
                  <a:gd name="connsiteY4" fmla="*/ 7444 h 10031"/>
                  <a:gd name="connsiteX5" fmla="*/ 8873 w 10000"/>
                  <a:gd name="connsiteY5" fmla="*/ 6351 h 10031"/>
                  <a:gd name="connsiteX6" fmla="*/ 8722 w 10000"/>
                  <a:gd name="connsiteY6" fmla="*/ 5768 h 10031"/>
                  <a:gd name="connsiteX7" fmla="*/ 9098 w 10000"/>
                  <a:gd name="connsiteY7" fmla="*/ 4525 h 10031"/>
                  <a:gd name="connsiteX8" fmla="*/ 9399 w 10000"/>
                  <a:gd name="connsiteY8" fmla="*/ 4160 h 10031"/>
                  <a:gd name="connsiteX9" fmla="*/ 10000 w 10000"/>
                  <a:gd name="connsiteY9" fmla="*/ 3576 h 10031"/>
                  <a:gd name="connsiteX10" fmla="*/ 9774 w 10000"/>
                  <a:gd name="connsiteY10" fmla="*/ 3502 h 10031"/>
                  <a:gd name="connsiteX11" fmla="*/ 9399 w 10000"/>
                  <a:gd name="connsiteY11" fmla="*/ 3140 h 10031"/>
                  <a:gd name="connsiteX12" fmla="*/ 9173 w 10000"/>
                  <a:gd name="connsiteY12" fmla="*/ 2044 h 10031"/>
                  <a:gd name="connsiteX13" fmla="*/ 9173 w 10000"/>
                  <a:gd name="connsiteY13" fmla="*/ 1460 h 10031"/>
                  <a:gd name="connsiteX14" fmla="*/ 9098 w 10000"/>
                  <a:gd name="connsiteY14" fmla="*/ 729 h 10031"/>
                  <a:gd name="connsiteX15" fmla="*/ 8873 w 10000"/>
                  <a:gd name="connsiteY15" fmla="*/ 511 h 10031"/>
                  <a:gd name="connsiteX16" fmla="*/ 8497 w 10000"/>
                  <a:gd name="connsiteY16" fmla="*/ 219 h 10031"/>
                  <a:gd name="connsiteX17" fmla="*/ 8272 w 10000"/>
                  <a:gd name="connsiteY17" fmla="*/ 0 h 10031"/>
                  <a:gd name="connsiteX18" fmla="*/ 7821 w 10000"/>
                  <a:gd name="connsiteY18" fmla="*/ 293 h 10031"/>
                  <a:gd name="connsiteX19" fmla="*/ 7370 w 10000"/>
                  <a:gd name="connsiteY19" fmla="*/ 729 h 10031"/>
                  <a:gd name="connsiteX20" fmla="*/ 6769 w 10000"/>
                  <a:gd name="connsiteY20" fmla="*/ 729 h 10031"/>
                  <a:gd name="connsiteX21" fmla="*/ 5717 w 10000"/>
                  <a:gd name="connsiteY21" fmla="*/ 729 h 10031"/>
                  <a:gd name="connsiteX22" fmla="*/ 5717 w 10000"/>
                  <a:gd name="connsiteY22" fmla="*/ 658 h 10031"/>
                  <a:gd name="connsiteX23" fmla="*/ 5643 w 10000"/>
                  <a:gd name="connsiteY23" fmla="*/ 729 h 10031"/>
                  <a:gd name="connsiteX24" fmla="*/ 1961 w 10000"/>
                  <a:gd name="connsiteY24" fmla="*/ 729 h 10031"/>
                  <a:gd name="connsiteX25" fmla="*/ 1961 w 10000"/>
                  <a:gd name="connsiteY25" fmla="*/ 2263 h 10031"/>
                  <a:gd name="connsiteX26" fmla="*/ 1285 w 10000"/>
                  <a:gd name="connsiteY26" fmla="*/ 2263 h 10031"/>
                  <a:gd name="connsiteX27" fmla="*/ 1285 w 10000"/>
                  <a:gd name="connsiteY27" fmla="*/ 2556 h 10031"/>
                  <a:gd name="connsiteX28" fmla="*/ 1285 w 10000"/>
                  <a:gd name="connsiteY28" fmla="*/ 5179 h 10031"/>
                  <a:gd name="connsiteX29" fmla="*/ 1135 w 10000"/>
                  <a:gd name="connsiteY29" fmla="*/ 5327 h 10031"/>
                  <a:gd name="connsiteX30" fmla="*/ 684 w 10000"/>
                  <a:gd name="connsiteY30" fmla="*/ 5621 h 10031"/>
                  <a:gd name="connsiteX31" fmla="*/ 609 w 10000"/>
                  <a:gd name="connsiteY31" fmla="*/ 5986 h 10031"/>
                  <a:gd name="connsiteX32" fmla="*/ 384 w 10000"/>
                  <a:gd name="connsiteY32" fmla="*/ 6351 h 10031"/>
                  <a:gd name="connsiteX33" fmla="*/ 234 w 10000"/>
                  <a:gd name="connsiteY33" fmla="*/ 6935 h 10031"/>
                  <a:gd name="connsiteX34" fmla="*/ 8 w 10000"/>
                  <a:gd name="connsiteY34" fmla="*/ 7593 h 10031"/>
                  <a:gd name="connsiteX35" fmla="*/ 384 w 10000"/>
                  <a:gd name="connsiteY35" fmla="*/ 7664 h 10031"/>
                  <a:gd name="connsiteX36" fmla="*/ 458 w 10000"/>
                  <a:gd name="connsiteY36" fmla="*/ 8245 h 10031"/>
                  <a:gd name="connsiteX37" fmla="*/ 684 w 10000"/>
                  <a:gd name="connsiteY37" fmla="*/ 8831 h 10031"/>
                  <a:gd name="connsiteX38" fmla="*/ 1059 w 10000"/>
                  <a:gd name="connsiteY38" fmla="*/ 10000 h 10031"/>
                  <a:gd name="connsiteX39" fmla="*/ 3863 w 10000"/>
                  <a:gd name="connsiteY39" fmla="*/ 9806 h 10031"/>
                  <a:gd name="connsiteX40" fmla="*/ 3479 w 10000"/>
                  <a:gd name="connsiteY40" fmla="*/ 9452 h 10031"/>
                  <a:gd name="connsiteX41" fmla="*/ 4219 w 10000"/>
                  <a:gd name="connsiteY41" fmla="*/ 9620 h 10031"/>
                  <a:gd name="connsiteX42" fmla="*/ 4373 w 10000"/>
                  <a:gd name="connsiteY42" fmla="*/ 9293 h 10031"/>
                  <a:gd name="connsiteX43" fmla="*/ 5064 w 10000"/>
                  <a:gd name="connsiteY43" fmla="*/ 9311 h 10031"/>
                  <a:gd name="connsiteX44" fmla="*/ 5457 w 10000"/>
                  <a:gd name="connsiteY44" fmla="*/ 8984 h 10031"/>
                  <a:gd name="connsiteX45" fmla="*/ 5884 w 10000"/>
                  <a:gd name="connsiteY45" fmla="*/ 8740 h 10031"/>
                  <a:gd name="connsiteX46" fmla="*/ 6040 w 10000"/>
                  <a:gd name="connsiteY46" fmla="*/ 8368 h 10031"/>
                  <a:gd name="connsiteX47" fmla="*/ 6382 w 10000"/>
                  <a:gd name="connsiteY47" fmla="*/ 7982 h 10031"/>
                  <a:gd name="connsiteX48" fmla="*/ 6428 w 10000"/>
                  <a:gd name="connsiteY48" fmla="*/ 8181 h 10031"/>
                  <a:gd name="connsiteX49" fmla="*/ 6444 w 10000"/>
                  <a:gd name="connsiteY49" fmla="*/ 8428 h 10031"/>
                  <a:gd name="connsiteX50" fmla="*/ 6766 w 10000"/>
                  <a:gd name="connsiteY50" fmla="*/ 9268 h 10031"/>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4219 w 10000"/>
                  <a:gd name="connsiteY41" fmla="*/ 9620 h 10008"/>
                  <a:gd name="connsiteX42" fmla="*/ 4373 w 10000"/>
                  <a:gd name="connsiteY42" fmla="*/ 9293 h 10008"/>
                  <a:gd name="connsiteX43" fmla="*/ 5064 w 10000"/>
                  <a:gd name="connsiteY43" fmla="*/ 9311 h 10008"/>
                  <a:gd name="connsiteX44" fmla="*/ 5457 w 10000"/>
                  <a:gd name="connsiteY44" fmla="*/ 8984 h 10008"/>
                  <a:gd name="connsiteX45" fmla="*/ 5884 w 10000"/>
                  <a:gd name="connsiteY45" fmla="*/ 8740 h 10008"/>
                  <a:gd name="connsiteX46" fmla="*/ 6040 w 10000"/>
                  <a:gd name="connsiteY46" fmla="*/ 8368 h 10008"/>
                  <a:gd name="connsiteX47" fmla="*/ 6382 w 10000"/>
                  <a:gd name="connsiteY47" fmla="*/ 7982 h 10008"/>
                  <a:gd name="connsiteX48" fmla="*/ 6428 w 10000"/>
                  <a:gd name="connsiteY48" fmla="*/ 8181 h 10008"/>
                  <a:gd name="connsiteX49" fmla="*/ 6444 w 10000"/>
                  <a:gd name="connsiteY49" fmla="*/ 8428 h 10008"/>
                  <a:gd name="connsiteX50" fmla="*/ 6766 w 10000"/>
                  <a:gd name="connsiteY50"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479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786 w 10000"/>
                  <a:gd name="connsiteY40" fmla="*/ 9452 h 10008"/>
                  <a:gd name="connsiteX41" fmla="*/ 3863 w 10000"/>
                  <a:gd name="connsiteY41" fmla="*/ 9778 h 10008"/>
                  <a:gd name="connsiteX42" fmla="*/ 4219 w 10000"/>
                  <a:gd name="connsiteY42" fmla="*/ 9620 h 10008"/>
                  <a:gd name="connsiteX43" fmla="*/ 4373 w 10000"/>
                  <a:gd name="connsiteY43" fmla="*/ 9293 h 10008"/>
                  <a:gd name="connsiteX44" fmla="*/ 5064 w 10000"/>
                  <a:gd name="connsiteY44" fmla="*/ 9311 h 10008"/>
                  <a:gd name="connsiteX45" fmla="*/ 5457 w 10000"/>
                  <a:gd name="connsiteY45" fmla="*/ 8984 h 10008"/>
                  <a:gd name="connsiteX46" fmla="*/ 5884 w 10000"/>
                  <a:gd name="connsiteY46" fmla="*/ 8740 h 10008"/>
                  <a:gd name="connsiteX47" fmla="*/ 6040 w 10000"/>
                  <a:gd name="connsiteY47" fmla="*/ 8368 h 10008"/>
                  <a:gd name="connsiteX48" fmla="*/ 6382 w 10000"/>
                  <a:gd name="connsiteY48" fmla="*/ 7982 h 10008"/>
                  <a:gd name="connsiteX49" fmla="*/ 6428 w 10000"/>
                  <a:gd name="connsiteY49" fmla="*/ 8181 h 10008"/>
                  <a:gd name="connsiteX50" fmla="*/ 6444 w 10000"/>
                  <a:gd name="connsiteY50" fmla="*/ 8428 h 10008"/>
                  <a:gd name="connsiteX51" fmla="*/ 6766 w 10000"/>
                  <a:gd name="connsiteY51"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52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08 w 10000"/>
                  <a:gd name="connsiteY40" fmla="*/ 9433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86 w 10000"/>
                  <a:gd name="connsiteY41" fmla="*/ 9499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960 w 10000"/>
                  <a:gd name="connsiteY40" fmla="*/ 9480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3027 w 10000"/>
                  <a:gd name="connsiteY40" fmla="*/ 9433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778 w 10000"/>
                  <a:gd name="connsiteY39" fmla="*/ 9087 h 10008"/>
                  <a:gd name="connsiteX40" fmla="*/ 2893 w 10000"/>
                  <a:gd name="connsiteY40" fmla="*/ 9508 h 10008"/>
                  <a:gd name="connsiteX41" fmla="*/ 3757 w 10000"/>
                  <a:gd name="connsiteY41" fmla="*/ 9508 h 10008"/>
                  <a:gd name="connsiteX42" fmla="*/ 3863 w 10000"/>
                  <a:gd name="connsiteY42" fmla="*/ 9778 h 10008"/>
                  <a:gd name="connsiteX43" fmla="*/ 4219 w 10000"/>
                  <a:gd name="connsiteY43" fmla="*/ 9620 h 10008"/>
                  <a:gd name="connsiteX44" fmla="*/ 4373 w 10000"/>
                  <a:gd name="connsiteY44" fmla="*/ 9293 h 10008"/>
                  <a:gd name="connsiteX45" fmla="*/ 5064 w 10000"/>
                  <a:gd name="connsiteY45" fmla="*/ 9311 h 10008"/>
                  <a:gd name="connsiteX46" fmla="*/ 5457 w 10000"/>
                  <a:gd name="connsiteY46" fmla="*/ 8984 h 10008"/>
                  <a:gd name="connsiteX47" fmla="*/ 5884 w 10000"/>
                  <a:gd name="connsiteY47" fmla="*/ 8740 h 10008"/>
                  <a:gd name="connsiteX48" fmla="*/ 6040 w 10000"/>
                  <a:gd name="connsiteY48" fmla="*/ 8368 h 10008"/>
                  <a:gd name="connsiteX49" fmla="*/ 6382 w 10000"/>
                  <a:gd name="connsiteY49" fmla="*/ 7982 h 10008"/>
                  <a:gd name="connsiteX50" fmla="*/ 6428 w 10000"/>
                  <a:gd name="connsiteY50" fmla="*/ 8181 h 10008"/>
                  <a:gd name="connsiteX51" fmla="*/ 6444 w 10000"/>
                  <a:gd name="connsiteY51" fmla="*/ 8428 h 10008"/>
                  <a:gd name="connsiteX52" fmla="*/ 6766 w 10000"/>
                  <a:gd name="connsiteY52" fmla="*/ 9268 h 1000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893 w 10000"/>
                  <a:gd name="connsiteY40" fmla="*/ 9508 h 10018"/>
                  <a:gd name="connsiteX41" fmla="*/ 3757 w 10000"/>
                  <a:gd name="connsiteY41" fmla="*/ 9508 h 10018"/>
                  <a:gd name="connsiteX42" fmla="*/ 3863 w 10000"/>
                  <a:gd name="connsiteY42" fmla="*/ 9778 h 10018"/>
                  <a:gd name="connsiteX43" fmla="*/ 4219 w 10000"/>
                  <a:gd name="connsiteY43" fmla="*/ 9620 h 10018"/>
                  <a:gd name="connsiteX44" fmla="*/ 4373 w 10000"/>
                  <a:gd name="connsiteY44" fmla="*/ 9293 h 10018"/>
                  <a:gd name="connsiteX45" fmla="*/ 5064 w 10000"/>
                  <a:gd name="connsiteY45" fmla="*/ 9311 h 10018"/>
                  <a:gd name="connsiteX46" fmla="*/ 5457 w 10000"/>
                  <a:gd name="connsiteY46" fmla="*/ 8984 h 10018"/>
                  <a:gd name="connsiteX47" fmla="*/ 5884 w 10000"/>
                  <a:gd name="connsiteY47" fmla="*/ 8740 h 10018"/>
                  <a:gd name="connsiteX48" fmla="*/ 6040 w 10000"/>
                  <a:gd name="connsiteY48" fmla="*/ 8368 h 10018"/>
                  <a:gd name="connsiteX49" fmla="*/ 6382 w 10000"/>
                  <a:gd name="connsiteY49" fmla="*/ 7982 h 10018"/>
                  <a:gd name="connsiteX50" fmla="*/ 6428 w 10000"/>
                  <a:gd name="connsiteY50" fmla="*/ 8181 h 10018"/>
                  <a:gd name="connsiteX51" fmla="*/ 6444 w 10000"/>
                  <a:gd name="connsiteY51" fmla="*/ 8428 h 10018"/>
                  <a:gd name="connsiteX52" fmla="*/ 6766 w 10000"/>
                  <a:gd name="connsiteY52"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38 w 10000"/>
                  <a:gd name="connsiteY40" fmla="*/ 9601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500 w 10000"/>
                  <a:gd name="connsiteY40" fmla="*/ 9227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893 w 10000"/>
                  <a:gd name="connsiteY41" fmla="*/ 9508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40 w 10000"/>
                  <a:gd name="connsiteY40" fmla="*/ 9610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8"/>
                  <a:gd name="connsiteX1" fmla="*/ 7446 w 10000"/>
                  <a:gd name="connsiteY1" fmla="*/ 8978 h 10018"/>
                  <a:gd name="connsiteX2" fmla="*/ 7821 w 10000"/>
                  <a:gd name="connsiteY2" fmla="*/ 8978 h 10018"/>
                  <a:gd name="connsiteX3" fmla="*/ 8047 w 10000"/>
                  <a:gd name="connsiteY3" fmla="*/ 8029 h 10018"/>
                  <a:gd name="connsiteX4" fmla="*/ 8648 w 10000"/>
                  <a:gd name="connsiteY4" fmla="*/ 7444 h 10018"/>
                  <a:gd name="connsiteX5" fmla="*/ 8873 w 10000"/>
                  <a:gd name="connsiteY5" fmla="*/ 6351 h 10018"/>
                  <a:gd name="connsiteX6" fmla="*/ 8722 w 10000"/>
                  <a:gd name="connsiteY6" fmla="*/ 5768 h 10018"/>
                  <a:gd name="connsiteX7" fmla="*/ 9098 w 10000"/>
                  <a:gd name="connsiteY7" fmla="*/ 4525 h 10018"/>
                  <a:gd name="connsiteX8" fmla="*/ 9399 w 10000"/>
                  <a:gd name="connsiteY8" fmla="*/ 4160 h 10018"/>
                  <a:gd name="connsiteX9" fmla="*/ 10000 w 10000"/>
                  <a:gd name="connsiteY9" fmla="*/ 3576 h 10018"/>
                  <a:gd name="connsiteX10" fmla="*/ 9774 w 10000"/>
                  <a:gd name="connsiteY10" fmla="*/ 3502 h 10018"/>
                  <a:gd name="connsiteX11" fmla="*/ 9399 w 10000"/>
                  <a:gd name="connsiteY11" fmla="*/ 3140 h 10018"/>
                  <a:gd name="connsiteX12" fmla="*/ 9173 w 10000"/>
                  <a:gd name="connsiteY12" fmla="*/ 2044 h 10018"/>
                  <a:gd name="connsiteX13" fmla="*/ 9173 w 10000"/>
                  <a:gd name="connsiteY13" fmla="*/ 1460 h 10018"/>
                  <a:gd name="connsiteX14" fmla="*/ 9098 w 10000"/>
                  <a:gd name="connsiteY14" fmla="*/ 729 h 10018"/>
                  <a:gd name="connsiteX15" fmla="*/ 8873 w 10000"/>
                  <a:gd name="connsiteY15" fmla="*/ 511 h 10018"/>
                  <a:gd name="connsiteX16" fmla="*/ 8497 w 10000"/>
                  <a:gd name="connsiteY16" fmla="*/ 219 h 10018"/>
                  <a:gd name="connsiteX17" fmla="*/ 8272 w 10000"/>
                  <a:gd name="connsiteY17" fmla="*/ 0 h 10018"/>
                  <a:gd name="connsiteX18" fmla="*/ 7821 w 10000"/>
                  <a:gd name="connsiteY18" fmla="*/ 293 h 10018"/>
                  <a:gd name="connsiteX19" fmla="*/ 7370 w 10000"/>
                  <a:gd name="connsiteY19" fmla="*/ 729 h 10018"/>
                  <a:gd name="connsiteX20" fmla="*/ 6769 w 10000"/>
                  <a:gd name="connsiteY20" fmla="*/ 729 h 10018"/>
                  <a:gd name="connsiteX21" fmla="*/ 5717 w 10000"/>
                  <a:gd name="connsiteY21" fmla="*/ 729 h 10018"/>
                  <a:gd name="connsiteX22" fmla="*/ 5717 w 10000"/>
                  <a:gd name="connsiteY22" fmla="*/ 658 h 10018"/>
                  <a:gd name="connsiteX23" fmla="*/ 5643 w 10000"/>
                  <a:gd name="connsiteY23" fmla="*/ 729 h 10018"/>
                  <a:gd name="connsiteX24" fmla="*/ 1961 w 10000"/>
                  <a:gd name="connsiteY24" fmla="*/ 729 h 10018"/>
                  <a:gd name="connsiteX25" fmla="*/ 1961 w 10000"/>
                  <a:gd name="connsiteY25" fmla="*/ 2263 h 10018"/>
                  <a:gd name="connsiteX26" fmla="*/ 1285 w 10000"/>
                  <a:gd name="connsiteY26" fmla="*/ 2263 h 10018"/>
                  <a:gd name="connsiteX27" fmla="*/ 1285 w 10000"/>
                  <a:gd name="connsiteY27" fmla="*/ 2556 h 10018"/>
                  <a:gd name="connsiteX28" fmla="*/ 1285 w 10000"/>
                  <a:gd name="connsiteY28" fmla="*/ 5179 h 10018"/>
                  <a:gd name="connsiteX29" fmla="*/ 1135 w 10000"/>
                  <a:gd name="connsiteY29" fmla="*/ 5327 h 10018"/>
                  <a:gd name="connsiteX30" fmla="*/ 684 w 10000"/>
                  <a:gd name="connsiteY30" fmla="*/ 5621 h 10018"/>
                  <a:gd name="connsiteX31" fmla="*/ 609 w 10000"/>
                  <a:gd name="connsiteY31" fmla="*/ 5986 h 10018"/>
                  <a:gd name="connsiteX32" fmla="*/ 384 w 10000"/>
                  <a:gd name="connsiteY32" fmla="*/ 6351 h 10018"/>
                  <a:gd name="connsiteX33" fmla="*/ 234 w 10000"/>
                  <a:gd name="connsiteY33" fmla="*/ 6935 h 10018"/>
                  <a:gd name="connsiteX34" fmla="*/ 8 w 10000"/>
                  <a:gd name="connsiteY34" fmla="*/ 7593 h 10018"/>
                  <a:gd name="connsiteX35" fmla="*/ 384 w 10000"/>
                  <a:gd name="connsiteY35" fmla="*/ 7664 h 10018"/>
                  <a:gd name="connsiteX36" fmla="*/ 458 w 10000"/>
                  <a:gd name="connsiteY36" fmla="*/ 8245 h 10018"/>
                  <a:gd name="connsiteX37" fmla="*/ 684 w 10000"/>
                  <a:gd name="connsiteY37" fmla="*/ 8831 h 10018"/>
                  <a:gd name="connsiteX38" fmla="*/ 1059 w 10000"/>
                  <a:gd name="connsiteY38" fmla="*/ 10000 h 10018"/>
                  <a:gd name="connsiteX39" fmla="*/ 2509 w 10000"/>
                  <a:gd name="connsiteY39" fmla="*/ 9601 h 10018"/>
                  <a:gd name="connsiteX40" fmla="*/ 2711 w 10000"/>
                  <a:gd name="connsiteY40" fmla="*/ 9629 h 10018"/>
                  <a:gd name="connsiteX41" fmla="*/ 2979 w 10000"/>
                  <a:gd name="connsiteY41" fmla="*/ 9527 h 10018"/>
                  <a:gd name="connsiteX42" fmla="*/ 3757 w 10000"/>
                  <a:gd name="connsiteY42" fmla="*/ 9508 h 10018"/>
                  <a:gd name="connsiteX43" fmla="*/ 3863 w 10000"/>
                  <a:gd name="connsiteY43" fmla="*/ 9778 h 10018"/>
                  <a:gd name="connsiteX44" fmla="*/ 4219 w 10000"/>
                  <a:gd name="connsiteY44" fmla="*/ 9620 h 10018"/>
                  <a:gd name="connsiteX45" fmla="*/ 4373 w 10000"/>
                  <a:gd name="connsiteY45" fmla="*/ 9293 h 10018"/>
                  <a:gd name="connsiteX46" fmla="*/ 5064 w 10000"/>
                  <a:gd name="connsiteY46" fmla="*/ 9311 h 10018"/>
                  <a:gd name="connsiteX47" fmla="*/ 5457 w 10000"/>
                  <a:gd name="connsiteY47" fmla="*/ 8984 h 10018"/>
                  <a:gd name="connsiteX48" fmla="*/ 5884 w 10000"/>
                  <a:gd name="connsiteY48" fmla="*/ 8740 h 10018"/>
                  <a:gd name="connsiteX49" fmla="*/ 6040 w 10000"/>
                  <a:gd name="connsiteY49" fmla="*/ 8368 h 10018"/>
                  <a:gd name="connsiteX50" fmla="*/ 6382 w 10000"/>
                  <a:gd name="connsiteY50" fmla="*/ 7982 h 10018"/>
                  <a:gd name="connsiteX51" fmla="*/ 6428 w 10000"/>
                  <a:gd name="connsiteY51" fmla="*/ 8181 h 10018"/>
                  <a:gd name="connsiteX52" fmla="*/ 6444 w 10000"/>
                  <a:gd name="connsiteY52" fmla="*/ 8428 h 10018"/>
                  <a:gd name="connsiteX53" fmla="*/ 6766 w 10000"/>
                  <a:gd name="connsiteY53" fmla="*/ 9268 h 10018"/>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09 w 10000"/>
                  <a:gd name="connsiteY40" fmla="*/ 9601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517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629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11 w 10000"/>
                  <a:gd name="connsiteY41" fmla="*/ 9853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76 w 10000"/>
                  <a:gd name="connsiteY40" fmla="*/ 9452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5"/>
                  <a:gd name="connsiteX1" fmla="*/ 7446 w 10000"/>
                  <a:gd name="connsiteY1" fmla="*/ 8978 h 10015"/>
                  <a:gd name="connsiteX2" fmla="*/ 7821 w 10000"/>
                  <a:gd name="connsiteY2" fmla="*/ 8978 h 10015"/>
                  <a:gd name="connsiteX3" fmla="*/ 8047 w 10000"/>
                  <a:gd name="connsiteY3" fmla="*/ 8029 h 10015"/>
                  <a:gd name="connsiteX4" fmla="*/ 8648 w 10000"/>
                  <a:gd name="connsiteY4" fmla="*/ 7444 h 10015"/>
                  <a:gd name="connsiteX5" fmla="*/ 8873 w 10000"/>
                  <a:gd name="connsiteY5" fmla="*/ 6351 h 10015"/>
                  <a:gd name="connsiteX6" fmla="*/ 8722 w 10000"/>
                  <a:gd name="connsiteY6" fmla="*/ 5768 h 10015"/>
                  <a:gd name="connsiteX7" fmla="*/ 9098 w 10000"/>
                  <a:gd name="connsiteY7" fmla="*/ 4525 h 10015"/>
                  <a:gd name="connsiteX8" fmla="*/ 9399 w 10000"/>
                  <a:gd name="connsiteY8" fmla="*/ 4160 h 10015"/>
                  <a:gd name="connsiteX9" fmla="*/ 10000 w 10000"/>
                  <a:gd name="connsiteY9" fmla="*/ 3576 h 10015"/>
                  <a:gd name="connsiteX10" fmla="*/ 9774 w 10000"/>
                  <a:gd name="connsiteY10" fmla="*/ 3502 h 10015"/>
                  <a:gd name="connsiteX11" fmla="*/ 9399 w 10000"/>
                  <a:gd name="connsiteY11" fmla="*/ 3140 h 10015"/>
                  <a:gd name="connsiteX12" fmla="*/ 9173 w 10000"/>
                  <a:gd name="connsiteY12" fmla="*/ 2044 h 10015"/>
                  <a:gd name="connsiteX13" fmla="*/ 9173 w 10000"/>
                  <a:gd name="connsiteY13" fmla="*/ 1460 h 10015"/>
                  <a:gd name="connsiteX14" fmla="*/ 9098 w 10000"/>
                  <a:gd name="connsiteY14" fmla="*/ 729 h 10015"/>
                  <a:gd name="connsiteX15" fmla="*/ 8873 w 10000"/>
                  <a:gd name="connsiteY15" fmla="*/ 511 h 10015"/>
                  <a:gd name="connsiteX16" fmla="*/ 8497 w 10000"/>
                  <a:gd name="connsiteY16" fmla="*/ 219 h 10015"/>
                  <a:gd name="connsiteX17" fmla="*/ 8272 w 10000"/>
                  <a:gd name="connsiteY17" fmla="*/ 0 h 10015"/>
                  <a:gd name="connsiteX18" fmla="*/ 7821 w 10000"/>
                  <a:gd name="connsiteY18" fmla="*/ 293 h 10015"/>
                  <a:gd name="connsiteX19" fmla="*/ 7370 w 10000"/>
                  <a:gd name="connsiteY19" fmla="*/ 729 h 10015"/>
                  <a:gd name="connsiteX20" fmla="*/ 6769 w 10000"/>
                  <a:gd name="connsiteY20" fmla="*/ 729 h 10015"/>
                  <a:gd name="connsiteX21" fmla="*/ 5717 w 10000"/>
                  <a:gd name="connsiteY21" fmla="*/ 729 h 10015"/>
                  <a:gd name="connsiteX22" fmla="*/ 5717 w 10000"/>
                  <a:gd name="connsiteY22" fmla="*/ 658 h 10015"/>
                  <a:gd name="connsiteX23" fmla="*/ 5643 w 10000"/>
                  <a:gd name="connsiteY23" fmla="*/ 729 h 10015"/>
                  <a:gd name="connsiteX24" fmla="*/ 1961 w 10000"/>
                  <a:gd name="connsiteY24" fmla="*/ 729 h 10015"/>
                  <a:gd name="connsiteX25" fmla="*/ 1961 w 10000"/>
                  <a:gd name="connsiteY25" fmla="*/ 2263 h 10015"/>
                  <a:gd name="connsiteX26" fmla="*/ 1285 w 10000"/>
                  <a:gd name="connsiteY26" fmla="*/ 2263 h 10015"/>
                  <a:gd name="connsiteX27" fmla="*/ 1285 w 10000"/>
                  <a:gd name="connsiteY27" fmla="*/ 2556 h 10015"/>
                  <a:gd name="connsiteX28" fmla="*/ 1285 w 10000"/>
                  <a:gd name="connsiteY28" fmla="*/ 5179 h 10015"/>
                  <a:gd name="connsiteX29" fmla="*/ 1135 w 10000"/>
                  <a:gd name="connsiteY29" fmla="*/ 5327 h 10015"/>
                  <a:gd name="connsiteX30" fmla="*/ 684 w 10000"/>
                  <a:gd name="connsiteY30" fmla="*/ 5621 h 10015"/>
                  <a:gd name="connsiteX31" fmla="*/ 609 w 10000"/>
                  <a:gd name="connsiteY31" fmla="*/ 5986 h 10015"/>
                  <a:gd name="connsiteX32" fmla="*/ 384 w 10000"/>
                  <a:gd name="connsiteY32" fmla="*/ 6351 h 10015"/>
                  <a:gd name="connsiteX33" fmla="*/ 234 w 10000"/>
                  <a:gd name="connsiteY33" fmla="*/ 6935 h 10015"/>
                  <a:gd name="connsiteX34" fmla="*/ 8 w 10000"/>
                  <a:gd name="connsiteY34" fmla="*/ 7593 h 10015"/>
                  <a:gd name="connsiteX35" fmla="*/ 384 w 10000"/>
                  <a:gd name="connsiteY35" fmla="*/ 7664 h 10015"/>
                  <a:gd name="connsiteX36" fmla="*/ 458 w 10000"/>
                  <a:gd name="connsiteY36" fmla="*/ 8245 h 10015"/>
                  <a:gd name="connsiteX37" fmla="*/ 684 w 10000"/>
                  <a:gd name="connsiteY37" fmla="*/ 8831 h 10015"/>
                  <a:gd name="connsiteX38" fmla="*/ 1059 w 10000"/>
                  <a:gd name="connsiteY38" fmla="*/ 10000 h 10015"/>
                  <a:gd name="connsiteX39" fmla="*/ 2461 w 10000"/>
                  <a:gd name="connsiteY39" fmla="*/ 9330 h 10015"/>
                  <a:gd name="connsiteX40" fmla="*/ 2566 w 10000"/>
                  <a:gd name="connsiteY40" fmla="*/ 9433 h 10015"/>
                  <a:gd name="connsiteX41" fmla="*/ 2721 w 10000"/>
                  <a:gd name="connsiteY41" fmla="*/ 9592 h 10015"/>
                  <a:gd name="connsiteX42" fmla="*/ 2979 w 10000"/>
                  <a:gd name="connsiteY42" fmla="*/ 9527 h 10015"/>
                  <a:gd name="connsiteX43" fmla="*/ 3757 w 10000"/>
                  <a:gd name="connsiteY43" fmla="*/ 9508 h 10015"/>
                  <a:gd name="connsiteX44" fmla="*/ 3863 w 10000"/>
                  <a:gd name="connsiteY44" fmla="*/ 9778 h 10015"/>
                  <a:gd name="connsiteX45" fmla="*/ 4219 w 10000"/>
                  <a:gd name="connsiteY45" fmla="*/ 9620 h 10015"/>
                  <a:gd name="connsiteX46" fmla="*/ 4373 w 10000"/>
                  <a:gd name="connsiteY46" fmla="*/ 9293 h 10015"/>
                  <a:gd name="connsiteX47" fmla="*/ 5064 w 10000"/>
                  <a:gd name="connsiteY47" fmla="*/ 9311 h 10015"/>
                  <a:gd name="connsiteX48" fmla="*/ 5457 w 10000"/>
                  <a:gd name="connsiteY48" fmla="*/ 8984 h 10015"/>
                  <a:gd name="connsiteX49" fmla="*/ 5884 w 10000"/>
                  <a:gd name="connsiteY49" fmla="*/ 8740 h 10015"/>
                  <a:gd name="connsiteX50" fmla="*/ 6040 w 10000"/>
                  <a:gd name="connsiteY50" fmla="*/ 8368 h 10015"/>
                  <a:gd name="connsiteX51" fmla="*/ 6382 w 10000"/>
                  <a:gd name="connsiteY51" fmla="*/ 7982 h 10015"/>
                  <a:gd name="connsiteX52" fmla="*/ 6428 w 10000"/>
                  <a:gd name="connsiteY52" fmla="*/ 8181 h 10015"/>
                  <a:gd name="connsiteX53" fmla="*/ 6444 w 10000"/>
                  <a:gd name="connsiteY53" fmla="*/ 8428 h 10015"/>
                  <a:gd name="connsiteX54" fmla="*/ 6766 w 10000"/>
                  <a:gd name="connsiteY54" fmla="*/ 9268 h 10015"/>
                  <a:gd name="connsiteX0" fmla="*/ 7446 w 10000"/>
                  <a:gd name="connsiteY0" fmla="*/ 9488 h 10014"/>
                  <a:gd name="connsiteX1" fmla="*/ 7446 w 10000"/>
                  <a:gd name="connsiteY1" fmla="*/ 8978 h 10014"/>
                  <a:gd name="connsiteX2" fmla="*/ 7821 w 10000"/>
                  <a:gd name="connsiteY2" fmla="*/ 8978 h 10014"/>
                  <a:gd name="connsiteX3" fmla="*/ 8047 w 10000"/>
                  <a:gd name="connsiteY3" fmla="*/ 8029 h 10014"/>
                  <a:gd name="connsiteX4" fmla="*/ 8648 w 10000"/>
                  <a:gd name="connsiteY4" fmla="*/ 7444 h 10014"/>
                  <a:gd name="connsiteX5" fmla="*/ 8873 w 10000"/>
                  <a:gd name="connsiteY5" fmla="*/ 6351 h 10014"/>
                  <a:gd name="connsiteX6" fmla="*/ 8722 w 10000"/>
                  <a:gd name="connsiteY6" fmla="*/ 5768 h 10014"/>
                  <a:gd name="connsiteX7" fmla="*/ 9098 w 10000"/>
                  <a:gd name="connsiteY7" fmla="*/ 4525 h 10014"/>
                  <a:gd name="connsiteX8" fmla="*/ 9399 w 10000"/>
                  <a:gd name="connsiteY8" fmla="*/ 4160 h 10014"/>
                  <a:gd name="connsiteX9" fmla="*/ 10000 w 10000"/>
                  <a:gd name="connsiteY9" fmla="*/ 3576 h 10014"/>
                  <a:gd name="connsiteX10" fmla="*/ 9774 w 10000"/>
                  <a:gd name="connsiteY10" fmla="*/ 3502 h 10014"/>
                  <a:gd name="connsiteX11" fmla="*/ 9399 w 10000"/>
                  <a:gd name="connsiteY11" fmla="*/ 3140 h 10014"/>
                  <a:gd name="connsiteX12" fmla="*/ 9173 w 10000"/>
                  <a:gd name="connsiteY12" fmla="*/ 2044 h 10014"/>
                  <a:gd name="connsiteX13" fmla="*/ 9173 w 10000"/>
                  <a:gd name="connsiteY13" fmla="*/ 1460 h 10014"/>
                  <a:gd name="connsiteX14" fmla="*/ 9098 w 10000"/>
                  <a:gd name="connsiteY14" fmla="*/ 729 h 10014"/>
                  <a:gd name="connsiteX15" fmla="*/ 8873 w 10000"/>
                  <a:gd name="connsiteY15" fmla="*/ 511 h 10014"/>
                  <a:gd name="connsiteX16" fmla="*/ 8497 w 10000"/>
                  <a:gd name="connsiteY16" fmla="*/ 219 h 10014"/>
                  <a:gd name="connsiteX17" fmla="*/ 8272 w 10000"/>
                  <a:gd name="connsiteY17" fmla="*/ 0 h 10014"/>
                  <a:gd name="connsiteX18" fmla="*/ 7821 w 10000"/>
                  <a:gd name="connsiteY18" fmla="*/ 293 h 10014"/>
                  <a:gd name="connsiteX19" fmla="*/ 7370 w 10000"/>
                  <a:gd name="connsiteY19" fmla="*/ 729 h 10014"/>
                  <a:gd name="connsiteX20" fmla="*/ 6769 w 10000"/>
                  <a:gd name="connsiteY20" fmla="*/ 729 h 10014"/>
                  <a:gd name="connsiteX21" fmla="*/ 5717 w 10000"/>
                  <a:gd name="connsiteY21" fmla="*/ 729 h 10014"/>
                  <a:gd name="connsiteX22" fmla="*/ 5717 w 10000"/>
                  <a:gd name="connsiteY22" fmla="*/ 658 h 10014"/>
                  <a:gd name="connsiteX23" fmla="*/ 5643 w 10000"/>
                  <a:gd name="connsiteY23" fmla="*/ 729 h 10014"/>
                  <a:gd name="connsiteX24" fmla="*/ 1961 w 10000"/>
                  <a:gd name="connsiteY24" fmla="*/ 729 h 10014"/>
                  <a:gd name="connsiteX25" fmla="*/ 1961 w 10000"/>
                  <a:gd name="connsiteY25" fmla="*/ 2263 h 10014"/>
                  <a:gd name="connsiteX26" fmla="*/ 1285 w 10000"/>
                  <a:gd name="connsiteY26" fmla="*/ 2263 h 10014"/>
                  <a:gd name="connsiteX27" fmla="*/ 1285 w 10000"/>
                  <a:gd name="connsiteY27" fmla="*/ 2556 h 10014"/>
                  <a:gd name="connsiteX28" fmla="*/ 1285 w 10000"/>
                  <a:gd name="connsiteY28" fmla="*/ 5179 h 10014"/>
                  <a:gd name="connsiteX29" fmla="*/ 1135 w 10000"/>
                  <a:gd name="connsiteY29" fmla="*/ 5327 h 10014"/>
                  <a:gd name="connsiteX30" fmla="*/ 684 w 10000"/>
                  <a:gd name="connsiteY30" fmla="*/ 5621 h 10014"/>
                  <a:gd name="connsiteX31" fmla="*/ 609 w 10000"/>
                  <a:gd name="connsiteY31" fmla="*/ 5986 h 10014"/>
                  <a:gd name="connsiteX32" fmla="*/ 384 w 10000"/>
                  <a:gd name="connsiteY32" fmla="*/ 6351 h 10014"/>
                  <a:gd name="connsiteX33" fmla="*/ 234 w 10000"/>
                  <a:gd name="connsiteY33" fmla="*/ 6935 h 10014"/>
                  <a:gd name="connsiteX34" fmla="*/ 8 w 10000"/>
                  <a:gd name="connsiteY34" fmla="*/ 7593 h 10014"/>
                  <a:gd name="connsiteX35" fmla="*/ 384 w 10000"/>
                  <a:gd name="connsiteY35" fmla="*/ 7664 h 10014"/>
                  <a:gd name="connsiteX36" fmla="*/ 458 w 10000"/>
                  <a:gd name="connsiteY36" fmla="*/ 8245 h 10014"/>
                  <a:gd name="connsiteX37" fmla="*/ 684 w 10000"/>
                  <a:gd name="connsiteY37" fmla="*/ 8831 h 10014"/>
                  <a:gd name="connsiteX38" fmla="*/ 1059 w 10000"/>
                  <a:gd name="connsiteY38" fmla="*/ 10000 h 10014"/>
                  <a:gd name="connsiteX39" fmla="*/ 2394 w 10000"/>
                  <a:gd name="connsiteY39" fmla="*/ 9237 h 10014"/>
                  <a:gd name="connsiteX40" fmla="*/ 2566 w 10000"/>
                  <a:gd name="connsiteY40" fmla="*/ 9433 h 10014"/>
                  <a:gd name="connsiteX41" fmla="*/ 2721 w 10000"/>
                  <a:gd name="connsiteY41" fmla="*/ 9592 h 10014"/>
                  <a:gd name="connsiteX42" fmla="*/ 2979 w 10000"/>
                  <a:gd name="connsiteY42" fmla="*/ 9527 h 10014"/>
                  <a:gd name="connsiteX43" fmla="*/ 3757 w 10000"/>
                  <a:gd name="connsiteY43" fmla="*/ 9508 h 10014"/>
                  <a:gd name="connsiteX44" fmla="*/ 3863 w 10000"/>
                  <a:gd name="connsiteY44" fmla="*/ 9778 h 10014"/>
                  <a:gd name="connsiteX45" fmla="*/ 4219 w 10000"/>
                  <a:gd name="connsiteY45" fmla="*/ 9620 h 10014"/>
                  <a:gd name="connsiteX46" fmla="*/ 4373 w 10000"/>
                  <a:gd name="connsiteY46" fmla="*/ 9293 h 10014"/>
                  <a:gd name="connsiteX47" fmla="*/ 5064 w 10000"/>
                  <a:gd name="connsiteY47" fmla="*/ 9311 h 10014"/>
                  <a:gd name="connsiteX48" fmla="*/ 5457 w 10000"/>
                  <a:gd name="connsiteY48" fmla="*/ 8984 h 10014"/>
                  <a:gd name="connsiteX49" fmla="*/ 5884 w 10000"/>
                  <a:gd name="connsiteY49" fmla="*/ 8740 h 10014"/>
                  <a:gd name="connsiteX50" fmla="*/ 6040 w 10000"/>
                  <a:gd name="connsiteY50" fmla="*/ 8368 h 10014"/>
                  <a:gd name="connsiteX51" fmla="*/ 6382 w 10000"/>
                  <a:gd name="connsiteY51" fmla="*/ 7982 h 10014"/>
                  <a:gd name="connsiteX52" fmla="*/ 6428 w 10000"/>
                  <a:gd name="connsiteY52" fmla="*/ 8181 h 10014"/>
                  <a:gd name="connsiteX53" fmla="*/ 6444 w 10000"/>
                  <a:gd name="connsiteY53" fmla="*/ 8428 h 10014"/>
                  <a:gd name="connsiteX54" fmla="*/ 6766 w 10000"/>
                  <a:gd name="connsiteY54" fmla="*/ 9268 h 10014"/>
                  <a:gd name="connsiteX0" fmla="*/ 7446 w 10000"/>
                  <a:gd name="connsiteY0" fmla="*/ 9488 h 10009"/>
                  <a:gd name="connsiteX1" fmla="*/ 7446 w 10000"/>
                  <a:gd name="connsiteY1" fmla="*/ 8978 h 10009"/>
                  <a:gd name="connsiteX2" fmla="*/ 7821 w 10000"/>
                  <a:gd name="connsiteY2" fmla="*/ 8978 h 10009"/>
                  <a:gd name="connsiteX3" fmla="*/ 8047 w 10000"/>
                  <a:gd name="connsiteY3" fmla="*/ 8029 h 10009"/>
                  <a:gd name="connsiteX4" fmla="*/ 8648 w 10000"/>
                  <a:gd name="connsiteY4" fmla="*/ 7444 h 10009"/>
                  <a:gd name="connsiteX5" fmla="*/ 8873 w 10000"/>
                  <a:gd name="connsiteY5" fmla="*/ 6351 h 10009"/>
                  <a:gd name="connsiteX6" fmla="*/ 8722 w 10000"/>
                  <a:gd name="connsiteY6" fmla="*/ 5768 h 10009"/>
                  <a:gd name="connsiteX7" fmla="*/ 9098 w 10000"/>
                  <a:gd name="connsiteY7" fmla="*/ 4525 h 10009"/>
                  <a:gd name="connsiteX8" fmla="*/ 9399 w 10000"/>
                  <a:gd name="connsiteY8" fmla="*/ 4160 h 10009"/>
                  <a:gd name="connsiteX9" fmla="*/ 10000 w 10000"/>
                  <a:gd name="connsiteY9" fmla="*/ 3576 h 10009"/>
                  <a:gd name="connsiteX10" fmla="*/ 9774 w 10000"/>
                  <a:gd name="connsiteY10" fmla="*/ 3502 h 10009"/>
                  <a:gd name="connsiteX11" fmla="*/ 9399 w 10000"/>
                  <a:gd name="connsiteY11" fmla="*/ 3140 h 10009"/>
                  <a:gd name="connsiteX12" fmla="*/ 9173 w 10000"/>
                  <a:gd name="connsiteY12" fmla="*/ 2044 h 10009"/>
                  <a:gd name="connsiteX13" fmla="*/ 9173 w 10000"/>
                  <a:gd name="connsiteY13" fmla="*/ 1460 h 10009"/>
                  <a:gd name="connsiteX14" fmla="*/ 9098 w 10000"/>
                  <a:gd name="connsiteY14" fmla="*/ 729 h 10009"/>
                  <a:gd name="connsiteX15" fmla="*/ 8873 w 10000"/>
                  <a:gd name="connsiteY15" fmla="*/ 511 h 10009"/>
                  <a:gd name="connsiteX16" fmla="*/ 8497 w 10000"/>
                  <a:gd name="connsiteY16" fmla="*/ 219 h 10009"/>
                  <a:gd name="connsiteX17" fmla="*/ 8272 w 10000"/>
                  <a:gd name="connsiteY17" fmla="*/ 0 h 10009"/>
                  <a:gd name="connsiteX18" fmla="*/ 7821 w 10000"/>
                  <a:gd name="connsiteY18" fmla="*/ 293 h 10009"/>
                  <a:gd name="connsiteX19" fmla="*/ 7370 w 10000"/>
                  <a:gd name="connsiteY19" fmla="*/ 729 h 10009"/>
                  <a:gd name="connsiteX20" fmla="*/ 6769 w 10000"/>
                  <a:gd name="connsiteY20" fmla="*/ 729 h 10009"/>
                  <a:gd name="connsiteX21" fmla="*/ 5717 w 10000"/>
                  <a:gd name="connsiteY21" fmla="*/ 729 h 10009"/>
                  <a:gd name="connsiteX22" fmla="*/ 5717 w 10000"/>
                  <a:gd name="connsiteY22" fmla="*/ 658 h 10009"/>
                  <a:gd name="connsiteX23" fmla="*/ 5643 w 10000"/>
                  <a:gd name="connsiteY23" fmla="*/ 729 h 10009"/>
                  <a:gd name="connsiteX24" fmla="*/ 1961 w 10000"/>
                  <a:gd name="connsiteY24" fmla="*/ 729 h 10009"/>
                  <a:gd name="connsiteX25" fmla="*/ 1961 w 10000"/>
                  <a:gd name="connsiteY25" fmla="*/ 2263 h 10009"/>
                  <a:gd name="connsiteX26" fmla="*/ 1285 w 10000"/>
                  <a:gd name="connsiteY26" fmla="*/ 2263 h 10009"/>
                  <a:gd name="connsiteX27" fmla="*/ 1285 w 10000"/>
                  <a:gd name="connsiteY27" fmla="*/ 2556 h 10009"/>
                  <a:gd name="connsiteX28" fmla="*/ 1285 w 10000"/>
                  <a:gd name="connsiteY28" fmla="*/ 5179 h 10009"/>
                  <a:gd name="connsiteX29" fmla="*/ 1135 w 10000"/>
                  <a:gd name="connsiteY29" fmla="*/ 5327 h 10009"/>
                  <a:gd name="connsiteX30" fmla="*/ 684 w 10000"/>
                  <a:gd name="connsiteY30" fmla="*/ 5621 h 10009"/>
                  <a:gd name="connsiteX31" fmla="*/ 609 w 10000"/>
                  <a:gd name="connsiteY31" fmla="*/ 5986 h 10009"/>
                  <a:gd name="connsiteX32" fmla="*/ 384 w 10000"/>
                  <a:gd name="connsiteY32" fmla="*/ 6351 h 10009"/>
                  <a:gd name="connsiteX33" fmla="*/ 234 w 10000"/>
                  <a:gd name="connsiteY33" fmla="*/ 6935 h 10009"/>
                  <a:gd name="connsiteX34" fmla="*/ 8 w 10000"/>
                  <a:gd name="connsiteY34" fmla="*/ 7593 h 10009"/>
                  <a:gd name="connsiteX35" fmla="*/ 384 w 10000"/>
                  <a:gd name="connsiteY35" fmla="*/ 7664 h 10009"/>
                  <a:gd name="connsiteX36" fmla="*/ 458 w 10000"/>
                  <a:gd name="connsiteY36" fmla="*/ 8245 h 10009"/>
                  <a:gd name="connsiteX37" fmla="*/ 684 w 10000"/>
                  <a:gd name="connsiteY37" fmla="*/ 8831 h 10009"/>
                  <a:gd name="connsiteX38" fmla="*/ 1059 w 10000"/>
                  <a:gd name="connsiteY38" fmla="*/ 10000 h 10009"/>
                  <a:gd name="connsiteX39" fmla="*/ 2394 w 10000"/>
                  <a:gd name="connsiteY39" fmla="*/ 9237 h 10009"/>
                  <a:gd name="connsiteX40" fmla="*/ 2566 w 10000"/>
                  <a:gd name="connsiteY40" fmla="*/ 9433 h 10009"/>
                  <a:gd name="connsiteX41" fmla="*/ 2721 w 10000"/>
                  <a:gd name="connsiteY41" fmla="*/ 9592 h 10009"/>
                  <a:gd name="connsiteX42" fmla="*/ 2979 w 10000"/>
                  <a:gd name="connsiteY42" fmla="*/ 9527 h 10009"/>
                  <a:gd name="connsiteX43" fmla="*/ 3757 w 10000"/>
                  <a:gd name="connsiteY43" fmla="*/ 9508 h 10009"/>
                  <a:gd name="connsiteX44" fmla="*/ 3863 w 10000"/>
                  <a:gd name="connsiteY44" fmla="*/ 9778 h 10009"/>
                  <a:gd name="connsiteX45" fmla="*/ 4219 w 10000"/>
                  <a:gd name="connsiteY45" fmla="*/ 9620 h 10009"/>
                  <a:gd name="connsiteX46" fmla="*/ 4373 w 10000"/>
                  <a:gd name="connsiteY46" fmla="*/ 9293 h 10009"/>
                  <a:gd name="connsiteX47" fmla="*/ 5064 w 10000"/>
                  <a:gd name="connsiteY47" fmla="*/ 9311 h 10009"/>
                  <a:gd name="connsiteX48" fmla="*/ 5457 w 10000"/>
                  <a:gd name="connsiteY48" fmla="*/ 8984 h 10009"/>
                  <a:gd name="connsiteX49" fmla="*/ 5884 w 10000"/>
                  <a:gd name="connsiteY49" fmla="*/ 8740 h 10009"/>
                  <a:gd name="connsiteX50" fmla="*/ 6040 w 10000"/>
                  <a:gd name="connsiteY50" fmla="*/ 8368 h 10009"/>
                  <a:gd name="connsiteX51" fmla="*/ 6382 w 10000"/>
                  <a:gd name="connsiteY51" fmla="*/ 7982 h 10009"/>
                  <a:gd name="connsiteX52" fmla="*/ 6428 w 10000"/>
                  <a:gd name="connsiteY52" fmla="*/ 8181 h 10009"/>
                  <a:gd name="connsiteX53" fmla="*/ 6444 w 10000"/>
                  <a:gd name="connsiteY53" fmla="*/ 8428 h 10009"/>
                  <a:gd name="connsiteX54" fmla="*/ 6766 w 10000"/>
                  <a:gd name="connsiteY54" fmla="*/ 9268 h 10009"/>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721 w 10000"/>
                  <a:gd name="connsiteY41" fmla="*/ 9592 h 10008"/>
                  <a:gd name="connsiteX42" fmla="*/ 2979 w 10000"/>
                  <a:gd name="connsiteY42" fmla="*/ 9527 h 10008"/>
                  <a:gd name="connsiteX43" fmla="*/ 3757 w 10000"/>
                  <a:gd name="connsiteY43" fmla="*/ 9508 h 10008"/>
                  <a:gd name="connsiteX44" fmla="*/ 3863 w 10000"/>
                  <a:gd name="connsiteY44" fmla="*/ 9778 h 10008"/>
                  <a:gd name="connsiteX45" fmla="*/ 4219 w 10000"/>
                  <a:gd name="connsiteY45" fmla="*/ 9620 h 10008"/>
                  <a:gd name="connsiteX46" fmla="*/ 4373 w 10000"/>
                  <a:gd name="connsiteY46" fmla="*/ 9293 h 10008"/>
                  <a:gd name="connsiteX47" fmla="*/ 5064 w 10000"/>
                  <a:gd name="connsiteY47" fmla="*/ 9311 h 10008"/>
                  <a:gd name="connsiteX48" fmla="*/ 5457 w 10000"/>
                  <a:gd name="connsiteY48" fmla="*/ 8984 h 10008"/>
                  <a:gd name="connsiteX49" fmla="*/ 5884 w 10000"/>
                  <a:gd name="connsiteY49" fmla="*/ 8740 h 10008"/>
                  <a:gd name="connsiteX50" fmla="*/ 6040 w 10000"/>
                  <a:gd name="connsiteY50" fmla="*/ 8368 h 10008"/>
                  <a:gd name="connsiteX51" fmla="*/ 6382 w 10000"/>
                  <a:gd name="connsiteY51" fmla="*/ 7982 h 10008"/>
                  <a:gd name="connsiteX52" fmla="*/ 6428 w 10000"/>
                  <a:gd name="connsiteY52" fmla="*/ 8181 h 10008"/>
                  <a:gd name="connsiteX53" fmla="*/ 6444 w 10000"/>
                  <a:gd name="connsiteY53" fmla="*/ 8428 h 10008"/>
                  <a:gd name="connsiteX54" fmla="*/ 6766 w 10000"/>
                  <a:gd name="connsiteY54"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2413 w 10000"/>
                  <a:gd name="connsiteY39" fmla="*/ 920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08"/>
                  <a:gd name="connsiteX1" fmla="*/ 7446 w 10000"/>
                  <a:gd name="connsiteY1" fmla="*/ 8978 h 10008"/>
                  <a:gd name="connsiteX2" fmla="*/ 7821 w 10000"/>
                  <a:gd name="connsiteY2" fmla="*/ 8978 h 10008"/>
                  <a:gd name="connsiteX3" fmla="*/ 8047 w 10000"/>
                  <a:gd name="connsiteY3" fmla="*/ 8029 h 10008"/>
                  <a:gd name="connsiteX4" fmla="*/ 8648 w 10000"/>
                  <a:gd name="connsiteY4" fmla="*/ 7444 h 10008"/>
                  <a:gd name="connsiteX5" fmla="*/ 8873 w 10000"/>
                  <a:gd name="connsiteY5" fmla="*/ 6351 h 10008"/>
                  <a:gd name="connsiteX6" fmla="*/ 8722 w 10000"/>
                  <a:gd name="connsiteY6" fmla="*/ 5768 h 10008"/>
                  <a:gd name="connsiteX7" fmla="*/ 9098 w 10000"/>
                  <a:gd name="connsiteY7" fmla="*/ 4525 h 10008"/>
                  <a:gd name="connsiteX8" fmla="*/ 9399 w 10000"/>
                  <a:gd name="connsiteY8" fmla="*/ 4160 h 10008"/>
                  <a:gd name="connsiteX9" fmla="*/ 10000 w 10000"/>
                  <a:gd name="connsiteY9" fmla="*/ 3576 h 10008"/>
                  <a:gd name="connsiteX10" fmla="*/ 9774 w 10000"/>
                  <a:gd name="connsiteY10" fmla="*/ 3502 h 10008"/>
                  <a:gd name="connsiteX11" fmla="*/ 9399 w 10000"/>
                  <a:gd name="connsiteY11" fmla="*/ 3140 h 10008"/>
                  <a:gd name="connsiteX12" fmla="*/ 9173 w 10000"/>
                  <a:gd name="connsiteY12" fmla="*/ 2044 h 10008"/>
                  <a:gd name="connsiteX13" fmla="*/ 9173 w 10000"/>
                  <a:gd name="connsiteY13" fmla="*/ 1460 h 10008"/>
                  <a:gd name="connsiteX14" fmla="*/ 9098 w 10000"/>
                  <a:gd name="connsiteY14" fmla="*/ 729 h 10008"/>
                  <a:gd name="connsiteX15" fmla="*/ 8873 w 10000"/>
                  <a:gd name="connsiteY15" fmla="*/ 511 h 10008"/>
                  <a:gd name="connsiteX16" fmla="*/ 8497 w 10000"/>
                  <a:gd name="connsiteY16" fmla="*/ 219 h 10008"/>
                  <a:gd name="connsiteX17" fmla="*/ 8272 w 10000"/>
                  <a:gd name="connsiteY17" fmla="*/ 0 h 10008"/>
                  <a:gd name="connsiteX18" fmla="*/ 7821 w 10000"/>
                  <a:gd name="connsiteY18" fmla="*/ 293 h 10008"/>
                  <a:gd name="connsiteX19" fmla="*/ 7370 w 10000"/>
                  <a:gd name="connsiteY19" fmla="*/ 729 h 10008"/>
                  <a:gd name="connsiteX20" fmla="*/ 6769 w 10000"/>
                  <a:gd name="connsiteY20" fmla="*/ 729 h 10008"/>
                  <a:gd name="connsiteX21" fmla="*/ 5717 w 10000"/>
                  <a:gd name="connsiteY21" fmla="*/ 729 h 10008"/>
                  <a:gd name="connsiteX22" fmla="*/ 5717 w 10000"/>
                  <a:gd name="connsiteY22" fmla="*/ 658 h 10008"/>
                  <a:gd name="connsiteX23" fmla="*/ 5643 w 10000"/>
                  <a:gd name="connsiteY23" fmla="*/ 729 h 10008"/>
                  <a:gd name="connsiteX24" fmla="*/ 1961 w 10000"/>
                  <a:gd name="connsiteY24" fmla="*/ 729 h 10008"/>
                  <a:gd name="connsiteX25" fmla="*/ 1961 w 10000"/>
                  <a:gd name="connsiteY25" fmla="*/ 2263 h 10008"/>
                  <a:gd name="connsiteX26" fmla="*/ 1285 w 10000"/>
                  <a:gd name="connsiteY26" fmla="*/ 2263 h 10008"/>
                  <a:gd name="connsiteX27" fmla="*/ 1285 w 10000"/>
                  <a:gd name="connsiteY27" fmla="*/ 2556 h 10008"/>
                  <a:gd name="connsiteX28" fmla="*/ 1285 w 10000"/>
                  <a:gd name="connsiteY28" fmla="*/ 5179 h 10008"/>
                  <a:gd name="connsiteX29" fmla="*/ 1135 w 10000"/>
                  <a:gd name="connsiteY29" fmla="*/ 5327 h 10008"/>
                  <a:gd name="connsiteX30" fmla="*/ 684 w 10000"/>
                  <a:gd name="connsiteY30" fmla="*/ 5621 h 10008"/>
                  <a:gd name="connsiteX31" fmla="*/ 609 w 10000"/>
                  <a:gd name="connsiteY31" fmla="*/ 5986 h 10008"/>
                  <a:gd name="connsiteX32" fmla="*/ 384 w 10000"/>
                  <a:gd name="connsiteY32" fmla="*/ 6351 h 10008"/>
                  <a:gd name="connsiteX33" fmla="*/ 234 w 10000"/>
                  <a:gd name="connsiteY33" fmla="*/ 6935 h 10008"/>
                  <a:gd name="connsiteX34" fmla="*/ 8 w 10000"/>
                  <a:gd name="connsiteY34" fmla="*/ 7593 h 10008"/>
                  <a:gd name="connsiteX35" fmla="*/ 384 w 10000"/>
                  <a:gd name="connsiteY35" fmla="*/ 7664 h 10008"/>
                  <a:gd name="connsiteX36" fmla="*/ 458 w 10000"/>
                  <a:gd name="connsiteY36" fmla="*/ 8245 h 10008"/>
                  <a:gd name="connsiteX37" fmla="*/ 684 w 10000"/>
                  <a:gd name="connsiteY37" fmla="*/ 8831 h 10008"/>
                  <a:gd name="connsiteX38" fmla="*/ 1059 w 10000"/>
                  <a:gd name="connsiteY38" fmla="*/ 10000 h 10008"/>
                  <a:gd name="connsiteX39" fmla="*/ 1817 w 10000"/>
                  <a:gd name="connsiteY39" fmla="*/ 9069 h 10008"/>
                  <a:gd name="connsiteX40" fmla="*/ 2566 w 10000"/>
                  <a:gd name="connsiteY40" fmla="*/ 9433 h 10008"/>
                  <a:gd name="connsiteX41" fmla="*/ 2605 w 10000"/>
                  <a:gd name="connsiteY41" fmla="*/ 9461 h 10008"/>
                  <a:gd name="connsiteX42" fmla="*/ 2721 w 10000"/>
                  <a:gd name="connsiteY42" fmla="*/ 9592 h 10008"/>
                  <a:gd name="connsiteX43" fmla="*/ 2979 w 10000"/>
                  <a:gd name="connsiteY43" fmla="*/ 9527 h 10008"/>
                  <a:gd name="connsiteX44" fmla="*/ 3757 w 10000"/>
                  <a:gd name="connsiteY44" fmla="*/ 9508 h 10008"/>
                  <a:gd name="connsiteX45" fmla="*/ 3863 w 10000"/>
                  <a:gd name="connsiteY45" fmla="*/ 9778 h 10008"/>
                  <a:gd name="connsiteX46" fmla="*/ 4219 w 10000"/>
                  <a:gd name="connsiteY46" fmla="*/ 9620 h 10008"/>
                  <a:gd name="connsiteX47" fmla="*/ 4373 w 10000"/>
                  <a:gd name="connsiteY47" fmla="*/ 9293 h 10008"/>
                  <a:gd name="connsiteX48" fmla="*/ 5064 w 10000"/>
                  <a:gd name="connsiteY48" fmla="*/ 9311 h 10008"/>
                  <a:gd name="connsiteX49" fmla="*/ 5457 w 10000"/>
                  <a:gd name="connsiteY49" fmla="*/ 8984 h 10008"/>
                  <a:gd name="connsiteX50" fmla="*/ 5884 w 10000"/>
                  <a:gd name="connsiteY50" fmla="*/ 8740 h 10008"/>
                  <a:gd name="connsiteX51" fmla="*/ 6040 w 10000"/>
                  <a:gd name="connsiteY51" fmla="*/ 8368 h 10008"/>
                  <a:gd name="connsiteX52" fmla="*/ 6382 w 10000"/>
                  <a:gd name="connsiteY52" fmla="*/ 7982 h 10008"/>
                  <a:gd name="connsiteX53" fmla="*/ 6428 w 10000"/>
                  <a:gd name="connsiteY53" fmla="*/ 8181 h 10008"/>
                  <a:gd name="connsiteX54" fmla="*/ 6444 w 10000"/>
                  <a:gd name="connsiteY54" fmla="*/ 8428 h 10008"/>
                  <a:gd name="connsiteX55" fmla="*/ 6766 w 10000"/>
                  <a:gd name="connsiteY55" fmla="*/ 9268 h 10008"/>
                  <a:gd name="connsiteX0" fmla="*/ 7446 w 10000"/>
                  <a:gd name="connsiteY0" fmla="*/ 9488 h 10028"/>
                  <a:gd name="connsiteX1" fmla="*/ 7446 w 10000"/>
                  <a:gd name="connsiteY1" fmla="*/ 8978 h 10028"/>
                  <a:gd name="connsiteX2" fmla="*/ 7821 w 10000"/>
                  <a:gd name="connsiteY2" fmla="*/ 8978 h 10028"/>
                  <a:gd name="connsiteX3" fmla="*/ 8047 w 10000"/>
                  <a:gd name="connsiteY3" fmla="*/ 8029 h 10028"/>
                  <a:gd name="connsiteX4" fmla="*/ 8648 w 10000"/>
                  <a:gd name="connsiteY4" fmla="*/ 7444 h 10028"/>
                  <a:gd name="connsiteX5" fmla="*/ 8873 w 10000"/>
                  <a:gd name="connsiteY5" fmla="*/ 6351 h 10028"/>
                  <a:gd name="connsiteX6" fmla="*/ 8722 w 10000"/>
                  <a:gd name="connsiteY6" fmla="*/ 5768 h 10028"/>
                  <a:gd name="connsiteX7" fmla="*/ 9098 w 10000"/>
                  <a:gd name="connsiteY7" fmla="*/ 4525 h 10028"/>
                  <a:gd name="connsiteX8" fmla="*/ 9399 w 10000"/>
                  <a:gd name="connsiteY8" fmla="*/ 4160 h 10028"/>
                  <a:gd name="connsiteX9" fmla="*/ 10000 w 10000"/>
                  <a:gd name="connsiteY9" fmla="*/ 3576 h 10028"/>
                  <a:gd name="connsiteX10" fmla="*/ 9774 w 10000"/>
                  <a:gd name="connsiteY10" fmla="*/ 3502 h 10028"/>
                  <a:gd name="connsiteX11" fmla="*/ 9399 w 10000"/>
                  <a:gd name="connsiteY11" fmla="*/ 3140 h 10028"/>
                  <a:gd name="connsiteX12" fmla="*/ 9173 w 10000"/>
                  <a:gd name="connsiteY12" fmla="*/ 2044 h 10028"/>
                  <a:gd name="connsiteX13" fmla="*/ 9173 w 10000"/>
                  <a:gd name="connsiteY13" fmla="*/ 1460 h 10028"/>
                  <a:gd name="connsiteX14" fmla="*/ 9098 w 10000"/>
                  <a:gd name="connsiteY14" fmla="*/ 729 h 10028"/>
                  <a:gd name="connsiteX15" fmla="*/ 8873 w 10000"/>
                  <a:gd name="connsiteY15" fmla="*/ 511 h 10028"/>
                  <a:gd name="connsiteX16" fmla="*/ 8497 w 10000"/>
                  <a:gd name="connsiteY16" fmla="*/ 219 h 10028"/>
                  <a:gd name="connsiteX17" fmla="*/ 8272 w 10000"/>
                  <a:gd name="connsiteY17" fmla="*/ 0 h 10028"/>
                  <a:gd name="connsiteX18" fmla="*/ 7821 w 10000"/>
                  <a:gd name="connsiteY18" fmla="*/ 293 h 10028"/>
                  <a:gd name="connsiteX19" fmla="*/ 7370 w 10000"/>
                  <a:gd name="connsiteY19" fmla="*/ 729 h 10028"/>
                  <a:gd name="connsiteX20" fmla="*/ 6769 w 10000"/>
                  <a:gd name="connsiteY20" fmla="*/ 729 h 10028"/>
                  <a:gd name="connsiteX21" fmla="*/ 5717 w 10000"/>
                  <a:gd name="connsiteY21" fmla="*/ 729 h 10028"/>
                  <a:gd name="connsiteX22" fmla="*/ 5717 w 10000"/>
                  <a:gd name="connsiteY22" fmla="*/ 658 h 10028"/>
                  <a:gd name="connsiteX23" fmla="*/ 5643 w 10000"/>
                  <a:gd name="connsiteY23" fmla="*/ 729 h 10028"/>
                  <a:gd name="connsiteX24" fmla="*/ 1961 w 10000"/>
                  <a:gd name="connsiteY24" fmla="*/ 729 h 10028"/>
                  <a:gd name="connsiteX25" fmla="*/ 1961 w 10000"/>
                  <a:gd name="connsiteY25" fmla="*/ 2263 h 10028"/>
                  <a:gd name="connsiteX26" fmla="*/ 1285 w 10000"/>
                  <a:gd name="connsiteY26" fmla="*/ 2263 h 10028"/>
                  <a:gd name="connsiteX27" fmla="*/ 1285 w 10000"/>
                  <a:gd name="connsiteY27" fmla="*/ 2556 h 10028"/>
                  <a:gd name="connsiteX28" fmla="*/ 1285 w 10000"/>
                  <a:gd name="connsiteY28" fmla="*/ 5179 h 10028"/>
                  <a:gd name="connsiteX29" fmla="*/ 1135 w 10000"/>
                  <a:gd name="connsiteY29" fmla="*/ 5327 h 10028"/>
                  <a:gd name="connsiteX30" fmla="*/ 684 w 10000"/>
                  <a:gd name="connsiteY30" fmla="*/ 5621 h 10028"/>
                  <a:gd name="connsiteX31" fmla="*/ 609 w 10000"/>
                  <a:gd name="connsiteY31" fmla="*/ 5986 h 10028"/>
                  <a:gd name="connsiteX32" fmla="*/ 384 w 10000"/>
                  <a:gd name="connsiteY32" fmla="*/ 6351 h 10028"/>
                  <a:gd name="connsiteX33" fmla="*/ 234 w 10000"/>
                  <a:gd name="connsiteY33" fmla="*/ 6935 h 10028"/>
                  <a:gd name="connsiteX34" fmla="*/ 8 w 10000"/>
                  <a:gd name="connsiteY34" fmla="*/ 7593 h 10028"/>
                  <a:gd name="connsiteX35" fmla="*/ 384 w 10000"/>
                  <a:gd name="connsiteY35" fmla="*/ 7664 h 10028"/>
                  <a:gd name="connsiteX36" fmla="*/ 458 w 10000"/>
                  <a:gd name="connsiteY36" fmla="*/ 8245 h 10028"/>
                  <a:gd name="connsiteX37" fmla="*/ 684 w 10000"/>
                  <a:gd name="connsiteY37" fmla="*/ 8831 h 10028"/>
                  <a:gd name="connsiteX38" fmla="*/ 1059 w 10000"/>
                  <a:gd name="connsiteY38" fmla="*/ 10000 h 10028"/>
                  <a:gd name="connsiteX39" fmla="*/ 1817 w 10000"/>
                  <a:gd name="connsiteY39" fmla="*/ 9069 h 10028"/>
                  <a:gd name="connsiteX40" fmla="*/ 2566 w 10000"/>
                  <a:gd name="connsiteY40" fmla="*/ 9433 h 10028"/>
                  <a:gd name="connsiteX41" fmla="*/ 2605 w 10000"/>
                  <a:gd name="connsiteY41" fmla="*/ 9461 h 10028"/>
                  <a:gd name="connsiteX42" fmla="*/ 2721 w 10000"/>
                  <a:gd name="connsiteY42" fmla="*/ 9592 h 10028"/>
                  <a:gd name="connsiteX43" fmla="*/ 2979 w 10000"/>
                  <a:gd name="connsiteY43" fmla="*/ 9527 h 10028"/>
                  <a:gd name="connsiteX44" fmla="*/ 3757 w 10000"/>
                  <a:gd name="connsiteY44" fmla="*/ 9508 h 10028"/>
                  <a:gd name="connsiteX45" fmla="*/ 3863 w 10000"/>
                  <a:gd name="connsiteY45" fmla="*/ 9778 h 10028"/>
                  <a:gd name="connsiteX46" fmla="*/ 4219 w 10000"/>
                  <a:gd name="connsiteY46" fmla="*/ 9620 h 10028"/>
                  <a:gd name="connsiteX47" fmla="*/ 4373 w 10000"/>
                  <a:gd name="connsiteY47" fmla="*/ 9293 h 10028"/>
                  <a:gd name="connsiteX48" fmla="*/ 5064 w 10000"/>
                  <a:gd name="connsiteY48" fmla="*/ 9311 h 10028"/>
                  <a:gd name="connsiteX49" fmla="*/ 5457 w 10000"/>
                  <a:gd name="connsiteY49" fmla="*/ 8984 h 10028"/>
                  <a:gd name="connsiteX50" fmla="*/ 5884 w 10000"/>
                  <a:gd name="connsiteY50" fmla="*/ 8740 h 10028"/>
                  <a:gd name="connsiteX51" fmla="*/ 6040 w 10000"/>
                  <a:gd name="connsiteY51" fmla="*/ 8368 h 10028"/>
                  <a:gd name="connsiteX52" fmla="*/ 6382 w 10000"/>
                  <a:gd name="connsiteY52" fmla="*/ 7982 h 10028"/>
                  <a:gd name="connsiteX53" fmla="*/ 6428 w 10000"/>
                  <a:gd name="connsiteY53" fmla="*/ 8181 h 10028"/>
                  <a:gd name="connsiteX54" fmla="*/ 6444 w 10000"/>
                  <a:gd name="connsiteY54" fmla="*/ 8428 h 10028"/>
                  <a:gd name="connsiteX55" fmla="*/ 6766 w 10000"/>
                  <a:gd name="connsiteY55" fmla="*/ 9268 h 10028"/>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817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50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702 w 10000"/>
                  <a:gd name="connsiteY39" fmla="*/ 9069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87 w 10000"/>
                  <a:gd name="connsiteY39" fmla="*/ 9088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97 w 10000"/>
                  <a:gd name="connsiteY39" fmla="*/ 9125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1059 w 10000"/>
                  <a:gd name="connsiteY38" fmla="*/ 10000 h 10000"/>
                  <a:gd name="connsiteX39" fmla="*/ 1568 w 10000"/>
                  <a:gd name="connsiteY39" fmla="*/ 9153 h 10000"/>
                  <a:gd name="connsiteX40" fmla="*/ 2566 w 10000"/>
                  <a:gd name="connsiteY40" fmla="*/ 9433 h 10000"/>
                  <a:gd name="connsiteX41" fmla="*/ 2605 w 10000"/>
                  <a:gd name="connsiteY41" fmla="*/ 9461 h 10000"/>
                  <a:gd name="connsiteX42" fmla="*/ 2721 w 10000"/>
                  <a:gd name="connsiteY42" fmla="*/ 9592 h 10000"/>
                  <a:gd name="connsiteX43" fmla="*/ 2979 w 10000"/>
                  <a:gd name="connsiteY43" fmla="*/ 9527 h 10000"/>
                  <a:gd name="connsiteX44" fmla="*/ 3757 w 10000"/>
                  <a:gd name="connsiteY44" fmla="*/ 9508 h 10000"/>
                  <a:gd name="connsiteX45" fmla="*/ 3863 w 10000"/>
                  <a:gd name="connsiteY45" fmla="*/ 9778 h 10000"/>
                  <a:gd name="connsiteX46" fmla="*/ 4219 w 10000"/>
                  <a:gd name="connsiteY46" fmla="*/ 9620 h 10000"/>
                  <a:gd name="connsiteX47" fmla="*/ 4373 w 10000"/>
                  <a:gd name="connsiteY47" fmla="*/ 9293 h 10000"/>
                  <a:gd name="connsiteX48" fmla="*/ 5064 w 10000"/>
                  <a:gd name="connsiteY48" fmla="*/ 9311 h 10000"/>
                  <a:gd name="connsiteX49" fmla="*/ 5457 w 10000"/>
                  <a:gd name="connsiteY49" fmla="*/ 8984 h 10000"/>
                  <a:gd name="connsiteX50" fmla="*/ 5884 w 10000"/>
                  <a:gd name="connsiteY50" fmla="*/ 8740 h 10000"/>
                  <a:gd name="connsiteX51" fmla="*/ 6040 w 10000"/>
                  <a:gd name="connsiteY51" fmla="*/ 8368 h 10000"/>
                  <a:gd name="connsiteX52" fmla="*/ 6382 w 10000"/>
                  <a:gd name="connsiteY52" fmla="*/ 7982 h 10000"/>
                  <a:gd name="connsiteX53" fmla="*/ 6428 w 10000"/>
                  <a:gd name="connsiteY53" fmla="*/ 8181 h 10000"/>
                  <a:gd name="connsiteX54" fmla="*/ 6444 w 10000"/>
                  <a:gd name="connsiteY54" fmla="*/ 8428 h 10000"/>
                  <a:gd name="connsiteX55" fmla="*/ 6766 w 10000"/>
                  <a:gd name="connsiteY55"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6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66 w 10000"/>
                  <a:gd name="connsiteY41" fmla="*/ 9433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547 w 10000"/>
                  <a:gd name="connsiteY41" fmla="*/ 9256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01 w 10000"/>
                  <a:gd name="connsiteY41" fmla="*/ 9069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268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605 w 10000"/>
                  <a:gd name="connsiteY42" fmla="*/ 9461 h 10000"/>
                  <a:gd name="connsiteX43" fmla="*/ 2721 w 10000"/>
                  <a:gd name="connsiteY43" fmla="*/ 9592 h 10000"/>
                  <a:gd name="connsiteX44" fmla="*/ 2979 w 10000"/>
                  <a:gd name="connsiteY44" fmla="*/ 9527 h 10000"/>
                  <a:gd name="connsiteX45" fmla="*/ 3757 w 10000"/>
                  <a:gd name="connsiteY45" fmla="*/ 9508 h 10000"/>
                  <a:gd name="connsiteX46" fmla="*/ 3863 w 10000"/>
                  <a:gd name="connsiteY46" fmla="*/ 9778 h 10000"/>
                  <a:gd name="connsiteX47" fmla="*/ 4219 w 10000"/>
                  <a:gd name="connsiteY47" fmla="*/ 9620 h 10000"/>
                  <a:gd name="connsiteX48" fmla="*/ 4373 w 10000"/>
                  <a:gd name="connsiteY48" fmla="*/ 9293 h 10000"/>
                  <a:gd name="connsiteX49" fmla="*/ 5064 w 10000"/>
                  <a:gd name="connsiteY49" fmla="*/ 9311 h 10000"/>
                  <a:gd name="connsiteX50" fmla="*/ 5457 w 10000"/>
                  <a:gd name="connsiteY50" fmla="*/ 8984 h 10000"/>
                  <a:gd name="connsiteX51" fmla="*/ 5884 w 10000"/>
                  <a:gd name="connsiteY51" fmla="*/ 8740 h 10000"/>
                  <a:gd name="connsiteX52" fmla="*/ 6040 w 10000"/>
                  <a:gd name="connsiteY52" fmla="*/ 8368 h 10000"/>
                  <a:gd name="connsiteX53" fmla="*/ 6382 w 10000"/>
                  <a:gd name="connsiteY53" fmla="*/ 7982 h 10000"/>
                  <a:gd name="connsiteX54" fmla="*/ 6428 w 10000"/>
                  <a:gd name="connsiteY54" fmla="*/ 8181 h 10000"/>
                  <a:gd name="connsiteX55" fmla="*/ 6444 w 10000"/>
                  <a:gd name="connsiteY55" fmla="*/ 8428 h 10000"/>
                  <a:gd name="connsiteX56" fmla="*/ 6766 w 10000"/>
                  <a:gd name="connsiteY56"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153 w 10000"/>
                  <a:gd name="connsiteY41" fmla="*/ 8780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336 w 10000"/>
                  <a:gd name="connsiteY42" fmla="*/ 8985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 name="connsiteX0" fmla="*/ 7446 w 10000"/>
                  <a:gd name="connsiteY0" fmla="*/ 9488 h 10000"/>
                  <a:gd name="connsiteX1" fmla="*/ 7446 w 10000"/>
                  <a:gd name="connsiteY1" fmla="*/ 8978 h 10000"/>
                  <a:gd name="connsiteX2" fmla="*/ 7821 w 10000"/>
                  <a:gd name="connsiteY2" fmla="*/ 8978 h 10000"/>
                  <a:gd name="connsiteX3" fmla="*/ 8047 w 10000"/>
                  <a:gd name="connsiteY3" fmla="*/ 8029 h 10000"/>
                  <a:gd name="connsiteX4" fmla="*/ 8648 w 10000"/>
                  <a:gd name="connsiteY4" fmla="*/ 7444 h 10000"/>
                  <a:gd name="connsiteX5" fmla="*/ 8873 w 10000"/>
                  <a:gd name="connsiteY5" fmla="*/ 6351 h 10000"/>
                  <a:gd name="connsiteX6" fmla="*/ 8722 w 10000"/>
                  <a:gd name="connsiteY6" fmla="*/ 5768 h 10000"/>
                  <a:gd name="connsiteX7" fmla="*/ 9098 w 10000"/>
                  <a:gd name="connsiteY7" fmla="*/ 4525 h 10000"/>
                  <a:gd name="connsiteX8" fmla="*/ 9399 w 10000"/>
                  <a:gd name="connsiteY8" fmla="*/ 4160 h 10000"/>
                  <a:gd name="connsiteX9" fmla="*/ 10000 w 10000"/>
                  <a:gd name="connsiteY9" fmla="*/ 3576 h 10000"/>
                  <a:gd name="connsiteX10" fmla="*/ 9774 w 10000"/>
                  <a:gd name="connsiteY10" fmla="*/ 3502 h 10000"/>
                  <a:gd name="connsiteX11" fmla="*/ 9399 w 10000"/>
                  <a:gd name="connsiteY11" fmla="*/ 3140 h 10000"/>
                  <a:gd name="connsiteX12" fmla="*/ 9173 w 10000"/>
                  <a:gd name="connsiteY12" fmla="*/ 2044 h 10000"/>
                  <a:gd name="connsiteX13" fmla="*/ 9173 w 10000"/>
                  <a:gd name="connsiteY13" fmla="*/ 1460 h 10000"/>
                  <a:gd name="connsiteX14" fmla="*/ 9098 w 10000"/>
                  <a:gd name="connsiteY14" fmla="*/ 729 h 10000"/>
                  <a:gd name="connsiteX15" fmla="*/ 8873 w 10000"/>
                  <a:gd name="connsiteY15" fmla="*/ 511 h 10000"/>
                  <a:gd name="connsiteX16" fmla="*/ 8497 w 10000"/>
                  <a:gd name="connsiteY16" fmla="*/ 219 h 10000"/>
                  <a:gd name="connsiteX17" fmla="*/ 8272 w 10000"/>
                  <a:gd name="connsiteY17" fmla="*/ 0 h 10000"/>
                  <a:gd name="connsiteX18" fmla="*/ 7821 w 10000"/>
                  <a:gd name="connsiteY18" fmla="*/ 293 h 10000"/>
                  <a:gd name="connsiteX19" fmla="*/ 7370 w 10000"/>
                  <a:gd name="connsiteY19" fmla="*/ 729 h 10000"/>
                  <a:gd name="connsiteX20" fmla="*/ 6769 w 10000"/>
                  <a:gd name="connsiteY20" fmla="*/ 729 h 10000"/>
                  <a:gd name="connsiteX21" fmla="*/ 5717 w 10000"/>
                  <a:gd name="connsiteY21" fmla="*/ 729 h 10000"/>
                  <a:gd name="connsiteX22" fmla="*/ 5717 w 10000"/>
                  <a:gd name="connsiteY22" fmla="*/ 658 h 10000"/>
                  <a:gd name="connsiteX23" fmla="*/ 5643 w 10000"/>
                  <a:gd name="connsiteY23" fmla="*/ 729 h 10000"/>
                  <a:gd name="connsiteX24" fmla="*/ 1961 w 10000"/>
                  <a:gd name="connsiteY24" fmla="*/ 729 h 10000"/>
                  <a:gd name="connsiteX25" fmla="*/ 1961 w 10000"/>
                  <a:gd name="connsiteY25" fmla="*/ 2263 h 10000"/>
                  <a:gd name="connsiteX26" fmla="*/ 1285 w 10000"/>
                  <a:gd name="connsiteY26" fmla="*/ 2263 h 10000"/>
                  <a:gd name="connsiteX27" fmla="*/ 1285 w 10000"/>
                  <a:gd name="connsiteY27" fmla="*/ 2556 h 10000"/>
                  <a:gd name="connsiteX28" fmla="*/ 1285 w 10000"/>
                  <a:gd name="connsiteY28" fmla="*/ 5179 h 10000"/>
                  <a:gd name="connsiteX29" fmla="*/ 1135 w 10000"/>
                  <a:gd name="connsiteY29" fmla="*/ 5327 h 10000"/>
                  <a:gd name="connsiteX30" fmla="*/ 684 w 10000"/>
                  <a:gd name="connsiteY30" fmla="*/ 5621 h 10000"/>
                  <a:gd name="connsiteX31" fmla="*/ 609 w 10000"/>
                  <a:gd name="connsiteY31" fmla="*/ 5986 h 10000"/>
                  <a:gd name="connsiteX32" fmla="*/ 384 w 10000"/>
                  <a:gd name="connsiteY32" fmla="*/ 6351 h 10000"/>
                  <a:gd name="connsiteX33" fmla="*/ 234 w 10000"/>
                  <a:gd name="connsiteY33" fmla="*/ 6935 h 10000"/>
                  <a:gd name="connsiteX34" fmla="*/ 8 w 10000"/>
                  <a:gd name="connsiteY34" fmla="*/ 7593 h 10000"/>
                  <a:gd name="connsiteX35" fmla="*/ 384 w 10000"/>
                  <a:gd name="connsiteY35" fmla="*/ 7664 h 10000"/>
                  <a:gd name="connsiteX36" fmla="*/ 458 w 10000"/>
                  <a:gd name="connsiteY36" fmla="*/ 8245 h 10000"/>
                  <a:gd name="connsiteX37" fmla="*/ 684 w 10000"/>
                  <a:gd name="connsiteY37" fmla="*/ 8831 h 10000"/>
                  <a:gd name="connsiteX38" fmla="*/ 982 w 10000"/>
                  <a:gd name="connsiteY38" fmla="*/ 9237 h 10000"/>
                  <a:gd name="connsiteX39" fmla="*/ 1059 w 10000"/>
                  <a:gd name="connsiteY39" fmla="*/ 10000 h 10000"/>
                  <a:gd name="connsiteX40" fmla="*/ 1578 w 10000"/>
                  <a:gd name="connsiteY40" fmla="*/ 9153 h 10000"/>
                  <a:gd name="connsiteX41" fmla="*/ 2076 w 10000"/>
                  <a:gd name="connsiteY41" fmla="*/ 8799 h 10000"/>
                  <a:gd name="connsiteX42" fmla="*/ 2250 w 10000"/>
                  <a:gd name="connsiteY42" fmla="*/ 9060 h 10000"/>
                  <a:gd name="connsiteX43" fmla="*/ 2605 w 10000"/>
                  <a:gd name="connsiteY43" fmla="*/ 9461 h 10000"/>
                  <a:gd name="connsiteX44" fmla="*/ 2721 w 10000"/>
                  <a:gd name="connsiteY44" fmla="*/ 9592 h 10000"/>
                  <a:gd name="connsiteX45" fmla="*/ 2979 w 10000"/>
                  <a:gd name="connsiteY45" fmla="*/ 9527 h 10000"/>
                  <a:gd name="connsiteX46" fmla="*/ 3757 w 10000"/>
                  <a:gd name="connsiteY46" fmla="*/ 9508 h 10000"/>
                  <a:gd name="connsiteX47" fmla="*/ 3863 w 10000"/>
                  <a:gd name="connsiteY47" fmla="*/ 9778 h 10000"/>
                  <a:gd name="connsiteX48" fmla="*/ 4219 w 10000"/>
                  <a:gd name="connsiteY48" fmla="*/ 9620 h 10000"/>
                  <a:gd name="connsiteX49" fmla="*/ 4373 w 10000"/>
                  <a:gd name="connsiteY49" fmla="*/ 9293 h 10000"/>
                  <a:gd name="connsiteX50" fmla="*/ 5064 w 10000"/>
                  <a:gd name="connsiteY50" fmla="*/ 9311 h 10000"/>
                  <a:gd name="connsiteX51" fmla="*/ 5457 w 10000"/>
                  <a:gd name="connsiteY51" fmla="*/ 8984 h 10000"/>
                  <a:gd name="connsiteX52" fmla="*/ 5884 w 10000"/>
                  <a:gd name="connsiteY52" fmla="*/ 8740 h 10000"/>
                  <a:gd name="connsiteX53" fmla="*/ 6040 w 10000"/>
                  <a:gd name="connsiteY53" fmla="*/ 8368 h 10000"/>
                  <a:gd name="connsiteX54" fmla="*/ 6382 w 10000"/>
                  <a:gd name="connsiteY54" fmla="*/ 7982 h 10000"/>
                  <a:gd name="connsiteX55" fmla="*/ 6428 w 10000"/>
                  <a:gd name="connsiteY55" fmla="*/ 8181 h 10000"/>
                  <a:gd name="connsiteX56" fmla="*/ 6444 w 10000"/>
                  <a:gd name="connsiteY56" fmla="*/ 8428 h 10000"/>
                  <a:gd name="connsiteX57" fmla="*/ 6766 w 10000"/>
                  <a:gd name="connsiteY57" fmla="*/ 92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000" h="10000">
                    <a:moveTo>
                      <a:pt x="7446" y="9488"/>
                    </a:moveTo>
                    <a:cubicBezTo>
                      <a:pt x="7596" y="9168"/>
                      <a:pt x="7370" y="9271"/>
                      <a:pt x="7446" y="8978"/>
                    </a:cubicBezTo>
                    <a:cubicBezTo>
                      <a:pt x="7671" y="8613"/>
                      <a:pt x="7671" y="9051"/>
                      <a:pt x="7821" y="8978"/>
                    </a:cubicBezTo>
                    <a:cubicBezTo>
                      <a:pt x="7896" y="8831"/>
                      <a:pt x="7821" y="8245"/>
                      <a:pt x="8047" y="8029"/>
                    </a:cubicBezTo>
                    <a:cubicBezTo>
                      <a:pt x="8272" y="7956"/>
                      <a:pt x="8197" y="7444"/>
                      <a:pt x="8648" y="7444"/>
                    </a:cubicBezTo>
                    <a:cubicBezTo>
                      <a:pt x="8497" y="7153"/>
                      <a:pt x="8722" y="7006"/>
                      <a:pt x="8873" y="6351"/>
                    </a:cubicBezTo>
                    <a:cubicBezTo>
                      <a:pt x="8873" y="6131"/>
                      <a:pt x="8648" y="5912"/>
                      <a:pt x="8722" y="5768"/>
                    </a:cubicBezTo>
                    <a:cubicBezTo>
                      <a:pt x="8873" y="5547"/>
                      <a:pt x="9098" y="5179"/>
                      <a:pt x="9098" y="4525"/>
                    </a:cubicBezTo>
                    <a:cubicBezTo>
                      <a:pt x="8948" y="4086"/>
                      <a:pt x="9173" y="4599"/>
                      <a:pt x="9399" y="4160"/>
                    </a:cubicBezTo>
                    <a:cubicBezTo>
                      <a:pt x="9549" y="3942"/>
                      <a:pt x="9774" y="4306"/>
                      <a:pt x="10000" y="3576"/>
                    </a:cubicBezTo>
                    <a:cubicBezTo>
                      <a:pt x="10000" y="3502"/>
                      <a:pt x="9850" y="3357"/>
                      <a:pt x="9774" y="3502"/>
                    </a:cubicBezTo>
                    <a:cubicBezTo>
                      <a:pt x="9624" y="3502"/>
                      <a:pt x="9624" y="3140"/>
                      <a:pt x="9399" y="3140"/>
                    </a:cubicBezTo>
                    <a:cubicBezTo>
                      <a:pt x="9323" y="3285"/>
                      <a:pt x="9098" y="2117"/>
                      <a:pt x="9173" y="2044"/>
                    </a:cubicBezTo>
                    <a:cubicBezTo>
                      <a:pt x="9323" y="1678"/>
                      <a:pt x="8948" y="1460"/>
                      <a:pt x="9173" y="1460"/>
                    </a:cubicBezTo>
                    <a:cubicBezTo>
                      <a:pt x="9399" y="1533"/>
                      <a:pt x="9098" y="1311"/>
                      <a:pt x="9098" y="729"/>
                    </a:cubicBezTo>
                    <a:cubicBezTo>
                      <a:pt x="8948" y="658"/>
                      <a:pt x="8948" y="511"/>
                      <a:pt x="8873" y="511"/>
                    </a:cubicBezTo>
                    <a:cubicBezTo>
                      <a:pt x="8648" y="511"/>
                      <a:pt x="8722" y="219"/>
                      <a:pt x="8497" y="219"/>
                    </a:cubicBezTo>
                    <a:cubicBezTo>
                      <a:pt x="8422" y="219"/>
                      <a:pt x="8272" y="74"/>
                      <a:pt x="8272" y="0"/>
                    </a:cubicBezTo>
                    <a:cubicBezTo>
                      <a:pt x="8047" y="293"/>
                      <a:pt x="7896" y="0"/>
                      <a:pt x="7821" y="293"/>
                    </a:cubicBezTo>
                    <a:cubicBezTo>
                      <a:pt x="7671" y="658"/>
                      <a:pt x="7446" y="511"/>
                      <a:pt x="7370" y="729"/>
                    </a:cubicBezTo>
                    <a:cubicBezTo>
                      <a:pt x="7220" y="1021"/>
                      <a:pt x="6995" y="1094"/>
                      <a:pt x="6769" y="729"/>
                    </a:cubicBezTo>
                    <a:lnTo>
                      <a:pt x="5717" y="729"/>
                    </a:lnTo>
                    <a:lnTo>
                      <a:pt x="5717" y="658"/>
                    </a:lnTo>
                    <a:cubicBezTo>
                      <a:pt x="5692" y="681"/>
                      <a:pt x="5668" y="707"/>
                      <a:pt x="5643" y="729"/>
                    </a:cubicBezTo>
                    <a:lnTo>
                      <a:pt x="1961" y="729"/>
                    </a:lnTo>
                    <a:lnTo>
                      <a:pt x="1961" y="2263"/>
                    </a:lnTo>
                    <a:lnTo>
                      <a:pt x="1285" y="2263"/>
                    </a:lnTo>
                    <a:lnTo>
                      <a:pt x="1285" y="2556"/>
                    </a:lnTo>
                    <a:lnTo>
                      <a:pt x="1285" y="5179"/>
                    </a:lnTo>
                    <a:lnTo>
                      <a:pt x="1135" y="5327"/>
                    </a:lnTo>
                    <a:cubicBezTo>
                      <a:pt x="909" y="5327"/>
                      <a:pt x="684" y="5327"/>
                      <a:pt x="684" y="5621"/>
                    </a:cubicBezTo>
                    <a:cubicBezTo>
                      <a:pt x="684" y="5986"/>
                      <a:pt x="458" y="5768"/>
                      <a:pt x="609" y="5986"/>
                    </a:cubicBezTo>
                    <a:cubicBezTo>
                      <a:pt x="609" y="6351"/>
                      <a:pt x="234" y="5986"/>
                      <a:pt x="384" y="6351"/>
                    </a:cubicBezTo>
                    <a:cubicBezTo>
                      <a:pt x="609" y="6642"/>
                      <a:pt x="8" y="6568"/>
                      <a:pt x="234" y="6935"/>
                    </a:cubicBezTo>
                    <a:cubicBezTo>
                      <a:pt x="458" y="7225"/>
                      <a:pt x="-67" y="7225"/>
                      <a:pt x="8" y="7593"/>
                    </a:cubicBezTo>
                    <a:cubicBezTo>
                      <a:pt x="158" y="7664"/>
                      <a:pt x="384" y="7371"/>
                      <a:pt x="384" y="7664"/>
                    </a:cubicBezTo>
                    <a:cubicBezTo>
                      <a:pt x="384" y="8029"/>
                      <a:pt x="458" y="7956"/>
                      <a:pt x="458" y="8245"/>
                    </a:cubicBezTo>
                    <a:cubicBezTo>
                      <a:pt x="458" y="8613"/>
                      <a:pt x="835" y="8392"/>
                      <a:pt x="684" y="8831"/>
                    </a:cubicBezTo>
                    <a:cubicBezTo>
                      <a:pt x="765" y="8992"/>
                      <a:pt x="920" y="9042"/>
                      <a:pt x="982" y="9237"/>
                    </a:cubicBezTo>
                    <a:cubicBezTo>
                      <a:pt x="1044" y="9432"/>
                      <a:pt x="1186" y="9449"/>
                      <a:pt x="1059" y="10000"/>
                    </a:cubicBezTo>
                    <a:cubicBezTo>
                      <a:pt x="1163" y="9440"/>
                      <a:pt x="1836" y="9946"/>
                      <a:pt x="1578" y="9153"/>
                    </a:cubicBezTo>
                    <a:cubicBezTo>
                      <a:pt x="1379" y="8778"/>
                      <a:pt x="2034" y="8798"/>
                      <a:pt x="2076" y="8799"/>
                    </a:cubicBezTo>
                    <a:cubicBezTo>
                      <a:pt x="2250" y="8835"/>
                      <a:pt x="2175" y="8947"/>
                      <a:pt x="2250" y="9060"/>
                    </a:cubicBezTo>
                    <a:cubicBezTo>
                      <a:pt x="2287" y="9201"/>
                      <a:pt x="2570" y="9088"/>
                      <a:pt x="2605" y="9461"/>
                    </a:cubicBezTo>
                    <a:cubicBezTo>
                      <a:pt x="2688" y="9582"/>
                      <a:pt x="2654" y="9583"/>
                      <a:pt x="2721" y="9592"/>
                    </a:cubicBezTo>
                    <a:cubicBezTo>
                      <a:pt x="2788" y="9601"/>
                      <a:pt x="2834" y="9598"/>
                      <a:pt x="2979" y="9527"/>
                    </a:cubicBezTo>
                    <a:cubicBezTo>
                      <a:pt x="3195" y="9495"/>
                      <a:pt x="3447" y="9466"/>
                      <a:pt x="3757" y="9508"/>
                    </a:cubicBezTo>
                    <a:cubicBezTo>
                      <a:pt x="3870" y="9662"/>
                      <a:pt x="3740" y="9750"/>
                      <a:pt x="3863" y="9778"/>
                    </a:cubicBezTo>
                    <a:cubicBezTo>
                      <a:pt x="3938" y="9834"/>
                      <a:pt x="4239" y="9749"/>
                      <a:pt x="4219" y="9620"/>
                    </a:cubicBezTo>
                    <a:cubicBezTo>
                      <a:pt x="4362" y="9594"/>
                      <a:pt x="4191" y="9348"/>
                      <a:pt x="4373" y="9293"/>
                    </a:cubicBezTo>
                    <a:cubicBezTo>
                      <a:pt x="4851" y="9186"/>
                      <a:pt x="4698" y="9336"/>
                      <a:pt x="5064" y="9311"/>
                    </a:cubicBezTo>
                    <a:cubicBezTo>
                      <a:pt x="5266" y="9314"/>
                      <a:pt x="5218" y="8965"/>
                      <a:pt x="5457" y="8984"/>
                    </a:cubicBezTo>
                    <a:cubicBezTo>
                      <a:pt x="5797" y="9049"/>
                      <a:pt x="6015" y="9089"/>
                      <a:pt x="5884" y="8740"/>
                    </a:cubicBezTo>
                    <a:cubicBezTo>
                      <a:pt x="5964" y="8593"/>
                      <a:pt x="6043" y="8363"/>
                      <a:pt x="6040" y="8368"/>
                    </a:cubicBezTo>
                    <a:cubicBezTo>
                      <a:pt x="6032" y="8083"/>
                      <a:pt x="6101" y="8080"/>
                      <a:pt x="6382" y="7982"/>
                    </a:cubicBezTo>
                    <a:cubicBezTo>
                      <a:pt x="6464" y="8031"/>
                      <a:pt x="6373" y="8102"/>
                      <a:pt x="6428" y="8181"/>
                    </a:cubicBezTo>
                    <a:cubicBezTo>
                      <a:pt x="6437" y="8304"/>
                      <a:pt x="6435" y="8305"/>
                      <a:pt x="6444" y="8428"/>
                    </a:cubicBezTo>
                    <a:cubicBezTo>
                      <a:pt x="6530" y="9042"/>
                      <a:pt x="6771" y="9273"/>
                      <a:pt x="6766" y="9268"/>
                    </a:cubicBezTo>
                  </a:path>
                </a:pathLst>
              </a:custGeom>
              <a:solidFill>
                <a:schemeClr val="accent1"/>
              </a:solidFill>
              <a:ln w="3175" cmpd="sng">
                <a:solidFill>
                  <a:schemeClr val="accent1"/>
                </a:solidFill>
                <a:round/>
                <a:headEnd/>
                <a:tailEnd/>
              </a:ln>
            </p:spPr>
            <p:txBody>
              <a:bodyPr/>
              <a:lstStyle/>
              <a:p>
                <a:endParaRPr lang="en-GB" sz="1539">
                  <a:solidFill>
                    <a:schemeClr val="accent1"/>
                  </a:solidFill>
                </a:endParaRPr>
              </a:p>
            </p:txBody>
          </p:sp>
        </p:grpSp>
      </p:grpSp>
      <p:graphicFrame>
        <p:nvGraphicFramePr>
          <p:cNvPr id="9" name="Object 8" hidden="1">
            <a:extLst>
              <a:ext uri="{FF2B5EF4-FFF2-40B4-BE49-F238E27FC236}">
                <a16:creationId xmlns:a16="http://schemas.microsoft.com/office/drawing/2014/main" id="{602F90B5-EEBE-429F-8C5E-69A7C297A7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602F90B5-EEBE-429F-8C5E-69A7C297A7F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FA94100-5031-47D6-AC15-1CEC3697D9D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7E466EA-391C-4252-902B-AAC685B41965}"/>
              </a:ext>
            </a:extLst>
          </p:cNvPr>
          <p:cNvSpPr>
            <a:spLocks noGrp="1"/>
          </p:cNvSpPr>
          <p:nvPr>
            <p:ph type="title"/>
          </p:nvPr>
        </p:nvSpPr>
        <p:spPr/>
        <p:txBody>
          <a:bodyPr/>
          <a:lstStyle/>
          <a:p>
            <a:r>
              <a:rPr lang="en-US"/>
              <a:t>Pandemic Period e-Commerce Growth</a:t>
            </a:r>
          </a:p>
        </p:txBody>
      </p:sp>
      <p:sp>
        <p:nvSpPr>
          <p:cNvPr id="332" name="TextBox 331">
            <a:extLst>
              <a:ext uri="{FF2B5EF4-FFF2-40B4-BE49-F238E27FC236}">
                <a16:creationId xmlns:a16="http://schemas.microsoft.com/office/drawing/2014/main" id="{2A61F53F-5248-440C-A45E-09D72997A3F1}"/>
              </a:ext>
            </a:extLst>
          </p:cNvPr>
          <p:cNvSpPr txBox="1"/>
          <p:nvPr/>
        </p:nvSpPr>
        <p:spPr>
          <a:xfrm>
            <a:off x="381001" y="3066261"/>
            <a:ext cx="2670448" cy="615553"/>
          </a:xfrm>
          <a:prstGeom prst="rect">
            <a:avLst/>
          </a:prstGeom>
          <a:noFill/>
        </p:spPr>
        <p:txBody>
          <a:bodyPr wrap="square" lIns="0" tIns="0" rIns="0" bIns="0" rtlCol="0" anchor="b">
            <a:spAutoFit/>
          </a:bodyPr>
          <a:lstStyle/>
          <a:p>
            <a:pPr defTabSz="1219140">
              <a:buSzPct val="100000"/>
              <a:defRPr/>
            </a:pPr>
            <a:r>
              <a:rPr lang="en-US" sz="4000" b="1">
                <a:solidFill>
                  <a:schemeClr val="accent1"/>
                </a:solidFill>
              </a:rPr>
              <a:t>3</a:t>
            </a:r>
            <a:r>
              <a:rPr lang="en-US" sz="3200">
                <a:solidFill>
                  <a:schemeClr val="accent1"/>
                </a:solidFill>
              </a:rPr>
              <a:t> </a:t>
            </a:r>
            <a:r>
              <a:rPr lang="en-US" sz="2800">
                <a:solidFill>
                  <a:schemeClr val="accent1"/>
                </a:solidFill>
              </a:rPr>
              <a:t>years ahead</a:t>
            </a:r>
            <a:endParaRPr lang="en-US" sz="3200">
              <a:solidFill>
                <a:schemeClr val="accent1"/>
              </a:solidFill>
            </a:endParaRPr>
          </a:p>
        </p:txBody>
      </p:sp>
      <p:sp>
        <p:nvSpPr>
          <p:cNvPr id="333" name="Freeform: Shape 332">
            <a:extLst>
              <a:ext uri="{FF2B5EF4-FFF2-40B4-BE49-F238E27FC236}">
                <a16:creationId xmlns:a16="http://schemas.microsoft.com/office/drawing/2014/main" id="{EF81F450-9B23-400A-AF28-7695AB84D8D9}"/>
              </a:ext>
            </a:extLst>
          </p:cNvPr>
          <p:cNvSpPr/>
          <p:nvPr/>
        </p:nvSpPr>
        <p:spPr>
          <a:xfrm flipV="1">
            <a:off x="384644" y="3396440"/>
            <a:ext cx="3152547" cy="330170"/>
          </a:xfrm>
          <a:custGeom>
            <a:avLst/>
            <a:gdLst>
              <a:gd name="connsiteX0" fmla="*/ 2946400 w 2946400"/>
              <a:gd name="connsiteY0" fmla="*/ 295564 h 295564"/>
              <a:gd name="connsiteX1" fmla="*/ 2650836 w 2946400"/>
              <a:gd name="connsiteY1" fmla="*/ 0 h 295564"/>
              <a:gd name="connsiteX2" fmla="*/ 0 w 2946400"/>
              <a:gd name="connsiteY2" fmla="*/ 0 h 295564"/>
            </a:gdLst>
            <a:ahLst/>
            <a:cxnLst>
              <a:cxn ang="0">
                <a:pos x="connsiteX0" y="connsiteY0"/>
              </a:cxn>
              <a:cxn ang="0">
                <a:pos x="connsiteX1" y="connsiteY1"/>
              </a:cxn>
              <a:cxn ang="0">
                <a:pos x="connsiteX2" y="connsiteY2"/>
              </a:cxn>
            </a:cxnLst>
            <a:rect l="l" t="t" r="r" b="b"/>
            <a:pathLst>
              <a:path w="2946400" h="295564">
                <a:moveTo>
                  <a:pt x="2946400" y="295564"/>
                </a:moveTo>
                <a:lnTo>
                  <a:pt x="2650836" y="0"/>
                </a:ln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37" name="TextBox 336">
            <a:extLst>
              <a:ext uri="{FF2B5EF4-FFF2-40B4-BE49-F238E27FC236}">
                <a16:creationId xmlns:a16="http://schemas.microsoft.com/office/drawing/2014/main" id="{542796D8-9CD8-444D-A91C-37910543489F}"/>
              </a:ext>
            </a:extLst>
          </p:cNvPr>
          <p:cNvSpPr txBox="1"/>
          <p:nvPr/>
        </p:nvSpPr>
        <p:spPr>
          <a:xfrm flipH="1">
            <a:off x="8921106" y="3600854"/>
            <a:ext cx="2800651" cy="615553"/>
          </a:xfrm>
          <a:prstGeom prst="rect">
            <a:avLst/>
          </a:prstGeom>
          <a:noFill/>
        </p:spPr>
        <p:txBody>
          <a:bodyPr wrap="square" lIns="0" tIns="0" rIns="0" bIns="0" rtlCol="0" anchor="b">
            <a:spAutoFit/>
          </a:bodyPr>
          <a:lstStyle/>
          <a:p>
            <a:pPr algn="r" defTabSz="1219140">
              <a:buSzPct val="100000"/>
              <a:defRPr/>
            </a:pPr>
            <a:r>
              <a:rPr lang="en-US" sz="4000" b="1">
                <a:solidFill>
                  <a:schemeClr val="accent1"/>
                </a:solidFill>
              </a:rPr>
              <a:t>2</a:t>
            </a:r>
            <a:r>
              <a:rPr lang="en-US">
                <a:solidFill>
                  <a:schemeClr val="accent1"/>
                </a:solidFill>
              </a:rPr>
              <a:t> </a:t>
            </a:r>
            <a:r>
              <a:rPr lang="en-US" sz="2800">
                <a:solidFill>
                  <a:schemeClr val="accent1"/>
                </a:solidFill>
              </a:rPr>
              <a:t>years ahead</a:t>
            </a:r>
            <a:endParaRPr lang="en-US">
              <a:solidFill>
                <a:schemeClr val="accent1"/>
              </a:solidFill>
            </a:endParaRPr>
          </a:p>
        </p:txBody>
      </p:sp>
      <p:sp>
        <p:nvSpPr>
          <p:cNvPr id="349" name="Freeform: Shape 348">
            <a:extLst>
              <a:ext uri="{FF2B5EF4-FFF2-40B4-BE49-F238E27FC236}">
                <a16:creationId xmlns:a16="http://schemas.microsoft.com/office/drawing/2014/main" id="{B743BA28-2CBC-4076-A41B-1530430F014B}"/>
              </a:ext>
            </a:extLst>
          </p:cNvPr>
          <p:cNvSpPr/>
          <p:nvPr/>
        </p:nvSpPr>
        <p:spPr>
          <a:xfrm>
            <a:off x="7865552" y="3649631"/>
            <a:ext cx="3851359" cy="549992"/>
          </a:xfrm>
          <a:custGeom>
            <a:avLst/>
            <a:gdLst>
              <a:gd name="connsiteX0" fmla="*/ 0 w 3803650"/>
              <a:gd name="connsiteY0" fmla="*/ 0 h 768350"/>
              <a:gd name="connsiteX1" fmla="*/ 768350 w 3803650"/>
              <a:gd name="connsiteY1" fmla="*/ 768350 h 768350"/>
              <a:gd name="connsiteX2" fmla="*/ 3803650 w 3803650"/>
              <a:gd name="connsiteY2" fmla="*/ 768350 h 768350"/>
            </a:gdLst>
            <a:ahLst/>
            <a:cxnLst>
              <a:cxn ang="0">
                <a:pos x="connsiteX0" y="connsiteY0"/>
              </a:cxn>
              <a:cxn ang="0">
                <a:pos x="connsiteX1" y="connsiteY1"/>
              </a:cxn>
              <a:cxn ang="0">
                <a:pos x="connsiteX2" y="connsiteY2"/>
              </a:cxn>
            </a:cxnLst>
            <a:rect l="l" t="t" r="r" b="b"/>
            <a:pathLst>
              <a:path w="3803650" h="768350">
                <a:moveTo>
                  <a:pt x="0" y="0"/>
                </a:moveTo>
                <a:lnTo>
                  <a:pt x="768350" y="768350"/>
                </a:lnTo>
                <a:lnTo>
                  <a:pt x="3803650" y="76835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35" name="Freeform: Shape 334">
            <a:extLst>
              <a:ext uri="{FF2B5EF4-FFF2-40B4-BE49-F238E27FC236}">
                <a16:creationId xmlns:a16="http://schemas.microsoft.com/office/drawing/2014/main" id="{C73AFD1A-F451-4F23-8374-80B4AC130E56}"/>
              </a:ext>
            </a:extLst>
          </p:cNvPr>
          <p:cNvSpPr/>
          <p:nvPr/>
        </p:nvSpPr>
        <p:spPr>
          <a:xfrm flipV="1">
            <a:off x="381000" y="4614941"/>
            <a:ext cx="4398661" cy="330170"/>
          </a:xfrm>
          <a:custGeom>
            <a:avLst/>
            <a:gdLst>
              <a:gd name="connsiteX0" fmla="*/ 2946400 w 2946400"/>
              <a:gd name="connsiteY0" fmla="*/ 295564 h 295564"/>
              <a:gd name="connsiteX1" fmla="*/ 2650836 w 2946400"/>
              <a:gd name="connsiteY1" fmla="*/ 0 h 295564"/>
              <a:gd name="connsiteX2" fmla="*/ 0 w 2946400"/>
              <a:gd name="connsiteY2" fmla="*/ 0 h 295564"/>
            </a:gdLst>
            <a:ahLst/>
            <a:cxnLst>
              <a:cxn ang="0">
                <a:pos x="connsiteX0" y="connsiteY0"/>
              </a:cxn>
              <a:cxn ang="0">
                <a:pos x="connsiteX1" y="connsiteY1"/>
              </a:cxn>
              <a:cxn ang="0">
                <a:pos x="connsiteX2" y="connsiteY2"/>
              </a:cxn>
            </a:cxnLst>
            <a:rect l="l" t="t" r="r" b="b"/>
            <a:pathLst>
              <a:path w="2946400" h="295564">
                <a:moveTo>
                  <a:pt x="2946400" y="295564"/>
                </a:moveTo>
                <a:lnTo>
                  <a:pt x="2650836" y="0"/>
                </a:lnTo>
                <a:lnTo>
                  <a:pt x="0" y="0"/>
                </a:lnTo>
              </a:path>
            </a:pathLst>
          </a:custGeom>
          <a:noFill/>
          <a:ln w="3175">
            <a:solidFill>
              <a:schemeClr val="accent2"/>
            </a:solidFill>
            <a:headEnd type="ova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1"/>
              </a:solidFill>
            </a:endParaRPr>
          </a:p>
        </p:txBody>
      </p:sp>
      <p:sp>
        <p:nvSpPr>
          <p:cNvPr id="336" name="TextBox 335">
            <a:extLst>
              <a:ext uri="{FF2B5EF4-FFF2-40B4-BE49-F238E27FC236}">
                <a16:creationId xmlns:a16="http://schemas.microsoft.com/office/drawing/2014/main" id="{B4D9BF87-E4ED-42B7-BD88-0DEAF3D46231}"/>
              </a:ext>
            </a:extLst>
          </p:cNvPr>
          <p:cNvSpPr txBox="1"/>
          <p:nvPr/>
        </p:nvSpPr>
        <p:spPr>
          <a:xfrm>
            <a:off x="374176" y="4260428"/>
            <a:ext cx="2584853" cy="615553"/>
          </a:xfrm>
          <a:prstGeom prst="rect">
            <a:avLst/>
          </a:prstGeom>
          <a:noFill/>
        </p:spPr>
        <p:txBody>
          <a:bodyPr wrap="square" lIns="0" tIns="0" rIns="0" bIns="0" rtlCol="0" anchor="b">
            <a:spAutoFit/>
          </a:bodyPr>
          <a:lstStyle/>
          <a:p>
            <a:pPr defTabSz="1219140">
              <a:buSzPct val="100000"/>
              <a:defRPr/>
            </a:pPr>
            <a:r>
              <a:rPr lang="en-US" sz="4000" b="1">
                <a:solidFill>
                  <a:schemeClr val="accent1"/>
                </a:solidFill>
              </a:rPr>
              <a:t>5</a:t>
            </a:r>
            <a:r>
              <a:rPr lang="en-US">
                <a:solidFill>
                  <a:schemeClr val="accent1"/>
                </a:solidFill>
              </a:rPr>
              <a:t> </a:t>
            </a:r>
            <a:r>
              <a:rPr lang="en-US" sz="2800">
                <a:solidFill>
                  <a:srgbClr val="1E32FA"/>
                </a:solidFill>
              </a:rPr>
              <a:t>years ahead</a:t>
            </a:r>
            <a:endParaRPr lang="en-US">
              <a:solidFill>
                <a:schemeClr val="accent1"/>
              </a:solidFill>
            </a:endParaRPr>
          </a:p>
        </p:txBody>
      </p:sp>
      <p:sp>
        <p:nvSpPr>
          <p:cNvPr id="3" name="Rectangle 2">
            <a:extLst>
              <a:ext uri="{FF2B5EF4-FFF2-40B4-BE49-F238E27FC236}">
                <a16:creationId xmlns:a16="http://schemas.microsoft.com/office/drawing/2014/main" id="{142654AC-1FD3-4C27-9315-9C1BD78D4D8A}"/>
              </a:ext>
            </a:extLst>
          </p:cNvPr>
          <p:cNvSpPr/>
          <p:nvPr/>
        </p:nvSpPr>
        <p:spPr>
          <a:xfrm>
            <a:off x="330200" y="1171909"/>
            <a:ext cx="11338334" cy="707886"/>
          </a:xfrm>
          <a:prstGeom prst="rect">
            <a:avLst/>
          </a:prstGeom>
        </p:spPr>
        <p:txBody>
          <a:bodyPr wrap="square">
            <a:spAutoFit/>
          </a:bodyPr>
          <a:lstStyle/>
          <a:p>
            <a:r>
              <a:rPr lang="en-US" sz="2000"/>
              <a:t>COVID-19 has grown E-Commerce exponentially across the world, especially in the U.S., Latin America, Europe and China</a:t>
            </a:r>
          </a:p>
        </p:txBody>
      </p:sp>
      <p:sp>
        <p:nvSpPr>
          <p:cNvPr id="312" name="TextBox 311">
            <a:extLst>
              <a:ext uri="{FF2B5EF4-FFF2-40B4-BE49-F238E27FC236}">
                <a16:creationId xmlns:a16="http://schemas.microsoft.com/office/drawing/2014/main" id="{10521DC2-510A-49F2-B21B-A8166FDCCEC3}"/>
              </a:ext>
            </a:extLst>
          </p:cNvPr>
          <p:cNvSpPr txBox="1"/>
          <p:nvPr/>
        </p:nvSpPr>
        <p:spPr>
          <a:xfrm>
            <a:off x="381001" y="3798082"/>
            <a:ext cx="2088503" cy="215444"/>
          </a:xfrm>
          <a:prstGeom prst="rect">
            <a:avLst/>
          </a:prstGeom>
          <a:noFill/>
        </p:spPr>
        <p:txBody>
          <a:bodyPr wrap="square" lIns="0" tIns="0" rIns="0" bIns="0" rtlCol="0">
            <a:spAutoFit/>
          </a:bodyPr>
          <a:lstStyle/>
          <a:p>
            <a:pPr defTabSz="1219140">
              <a:buSzPct val="100000"/>
              <a:defRPr/>
            </a:pPr>
            <a:r>
              <a:rPr lang="en-US" sz="1400">
                <a:solidFill>
                  <a:schemeClr val="accent1"/>
                </a:solidFill>
              </a:rPr>
              <a:t>United States</a:t>
            </a:r>
          </a:p>
        </p:txBody>
      </p:sp>
      <p:sp>
        <p:nvSpPr>
          <p:cNvPr id="313" name="TextBox 312">
            <a:extLst>
              <a:ext uri="{FF2B5EF4-FFF2-40B4-BE49-F238E27FC236}">
                <a16:creationId xmlns:a16="http://schemas.microsoft.com/office/drawing/2014/main" id="{B8257E93-4FA6-44D1-B6FD-3550F44AF015}"/>
              </a:ext>
            </a:extLst>
          </p:cNvPr>
          <p:cNvSpPr txBox="1"/>
          <p:nvPr/>
        </p:nvSpPr>
        <p:spPr>
          <a:xfrm>
            <a:off x="374176" y="5017183"/>
            <a:ext cx="2088503" cy="215444"/>
          </a:xfrm>
          <a:prstGeom prst="rect">
            <a:avLst/>
          </a:prstGeom>
          <a:noFill/>
        </p:spPr>
        <p:txBody>
          <a:bodyPr wrap="square" lIns="0" tIns="0" rIns="0" bIns="0" rtlCol="0">
            <a:spAutoFit/>
          </a:bodyPr>
          <a:lstStyle/>
          <a:p>
            <a:pPr defTabSz="1219140">
              <a:buSzPct val="100000"/>
              <a:defRPr/>
            </a:pPr>
            <a:r>
              <a:rPr lang="en-US" sz="1400">
                <a:solidFill>
                  <a:schemeClr val="accent1"/>
                </a:solidFill>
              </a:rPr>
              <a:t>Latin America</a:t>
            </a:r>
          </a:p>
        </p:txBody>
      </p:sp>
      <p:sp>
        <p:nvSpPr>
          <p:cNvPr id="314" name="TextBox 313">
            <a:extLst>
              <a:ext uri="{FF2B5EF4-FFF2-40B4-BE49-F238E27FC236}">
                <a16:creationId xmlns:a16="http://schemas.microsoft.com/office/drawing/2014/main" id="{097BC587-52DC-4260-844B-69E5FA0E800A}"/>
              </a:ext>
            </a:extLst>
          </p:cNvPr>
          <p:cNvSpPr txBox="1"/>
          <p:nvPr/>
        </p:nvSpPr>
        <p:spPr>
          <a:xfrm>
            <a:off x="9630831" y="4294299"/>
            <a:ext cx="2088503" cy="215444"/>
          </a:xfrm>
          <a:prstGeom prst="rect">
            <a:avLst/>
          </a:prstGeom>
          <a:noFill/>
        </p:spPr>
        <p:txBody>
          <a:bodyPr wrap="square" lIns="0" tIns="0" rIns="0" bIns="0" rtlCol="0">
            <a:spAutoFit/>
          </a:bodyPr>
          <a:lstStyle/>
          <a:p>
            <a:pPr algn="r" defTabSz="1219140">
              <a:buSzPct val="100000"/>
              <a:defRPr/>
            </a:pPr>
            <a:r>
              <a:rPr lang="en-US" sz="1400">
                <a:solidFill>
                  <a:schemeClr val="accent1"/>
                </a:solidFill>
              </a:rPr>
              <a:t>China</a:t>
            </a:r>
          </a:p>
        </p:txBody>
      </p:sp>
    </p:spTree>
    <p:extLst>
      <p:ext uri="{BB962C8B-B14F-4D97-AF65-F5344CB8AC3E}">
        <p14:creationId xmlns:p14="http://schemas.microsoft.com/office/powerpoint/2010/main" val="28656515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8941836-EBFD-4D2C-B504-44D5DF960193}"/>
              </a:ext>
            </a:extLst>
          </p:cNvPr>
          <p:cNvSpPr/>
          <p:nvPr/>
        </p:nvSpPr>
        <p:spPr>
          <a:xfrm>
            <a:off x="10590963" y="5767754"/>
            <a:ext cx="1517301" cy="9027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1023C7E-EC01-4E81-BE4C-DFF51632C4DA}"/>
              </a:ext>
            </a:extLst>
          </p:cNvPr>
          <p:cNvSpPr/>
          <p:nvPr/>
        </p:nvSpPr>
        <p:spPr>
          <a:xfrm>
            <a:off x="381000" y="2585051"/>
            <a:ext cx="11336937" cy="40059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1DC300-413A-4204-A744-96FA7537F5D2}"/>
              </a:ext>
            </a:extLst>
          </p:cNvPr>
          <p:cNvSpPr>
            <a:spLocks noGrp="1"/>
          </p:cNvSpPr>
          <p:nvPr>
            <p:ph type="title"/>
          </p:nvPr>
        </p:nvSpPr>
        <p:spPr/>
        <p:txBody>
          <a:bodyPr/>
          <a:lstStyle/>
          <a:p>
            <a:r>
              <a:rPr lang="en-US"/>
              <a:t>Air cargo models &amp; e-tailers</a:t>
            </a:r>
          </a:p>
        </p:txBody>
      </p:sp>
      <p:grpSp>
        <p:nvGrpSpPr>
          <p:cNvPr id="23" name="Group 22">
            <a:extLst>
              <a:ext uri="{FF2B5EF4-FFF2-40B4-BE49-F238E27FC236}">
                <a16:creationId xmlns:a16="http://schemas.microsoft.com/office/drawing/2014/main" id="{AD0FC515-67BA-436B-9890-7BB290356E39}"/>
              </a:ext>
            </a:extLst>
          </p:cNvPr>
          <p:cNvGrpSpPr/>
          <p:nvPr/>
        </p:nvGrpSpPr>
        <p:grpSpPr>
          <a:xfrm>
            <a:off x="381000" y="1121500"/>
            <a:ext cx="11336937" cy="1456260"/>
            <a:chOff x="381000" y="1121500"/>
            <a:chExt cx="11336937" cy="1456260"/>
          </a:xfrm>
        </p:grpSpPr>
        <p:grpSp>
          <p:nvGrpSpPr>
            <p:cNvPr id="15" name="Group 14">
              <a:extLst>
                <a:ext uri="{FF2B5EF4-FFF2-40B4-BE49-F238E27FC236}">
                  <a16:creationId xmlns:a16="http://schemas.microsoft.com/office/drawing/2014/main" id="{9955DD54-018B-4ED5-BC64-6B39A9070C4A}"/>
                </a:ext>
              </a:extLst>
            </p:cNvPr>
            <p:cNvGrpSpPr/>
            <p:nvPr/>
          </p:nvGrpSpPr>
          <p:grpSpPr>
            <a:xfrm>
              <a:off x="381000" y="1121500"/>
              <a:ext cx="2706811" cy="1316574"/>
              <a:chOff x="400628" y="1841120"/>
              <a:chExt cx="2706811" cy="1450062"/>
            </a:xfrm>
          </p:grpSpPr>
          <p:sp>
            <p:nvSpPr>
              <p:cNvPr id="7" name="Rectangle 6">
                <a:extLst>
                  <a:ext uri="{FF2B5EF4-FFF2-40B4-BE49-F238E27FC236}">
                    <a16:creationId xmlns:a16="http://schemas.microsoft.com/office/drawing/2014/main" id="{18CA80D6-52DE-4FAB-92F3-9E9810DCC700}"/>
                  </a:ext>
                </a:extLst>
              </p:cNvPr>
              <p:cNvSpPr/>
              <p:nvPr/>
            </p:nvSpPr>
            <p:spPr>
              <a:xfrm>
                <a:off x="400628" y="1841120"/>
                <a:ext cx="2706811" cy="14500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Content Placeholder 8">
                <a:extLst>
                  <a:ext uri="{FF2B5EF4-FFF2-40B4-BE49-F238E27FC236}">
                    <a16:creationId xmlns:a16="http://schemas.microsoft.com/office/drawing/2014/main" id="{80AC00EB-00B7-4FE9-A4BE-82508A005BA1}"/>
                  </a:ext>
                </a:extLst>
              </p:cNvPr>
              <p:cNvSpPr txBox="1">
                <a:spLocks/>
              </p:cNvSpPr>
              <p:nvPr/>
            </p:nvSpPr>
            <p:spPr>
              <a:xfrm>
                <a:off x="493691" y="1968537"/>
                <a:ext cx="2584077" cy="120184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9pPr>
              </a:lstStyle>
              <a:p>
                <a:pPr algn="ctr"/>
                <a:r>
                  <a:rPr lang="en-US" sz="1400">
                    <a:solidFill>
                      <a:schemeClr val="accent1"/>
                    </a:solidFill>
                    <a:latin typeface="+mj-lt"/>
                  </a:rPr>
                  <a:t>Owned and fully dedicated air transport capabilities</a:t>
                </a:r>
                <a:endParaRPr lang="en-US" sz="100"/>
              </a:p>
              <a:p>
                <a:pPr algn="ctr">
                  <a:spcBef>
                    <a:spcPts val="600"/>
                  </a:spcBef>
                  <a:buClr>
                    <a:schemeClr val="accent1"/>
                  </a:buClr>
                </a:pPr>
                <a:r>
                  <a:rPr lang="en-US" sz="1200"/>
                  <a:t>Firms reduce their dependence on 3rd party carriers, limiting risks and increasing margins.</a:t>
                </a:r>
                <a:endParaRPr lang="en-US" sz="2000"/>
              </a:p>
            </p:txBody>
          </p:sp>
        </p:grpSp>
        <p:grpSp>
          <p:nvGrpSpPr>
            <p:cNvPr id="16" name="Group 15">
              <a:extLst>
                <a:ext uri="{FF2B5EF4-FFF2-40B4-BE49-F238E27FC236}">
                  <a16:creationId xmlns:a16="http://schemas.microsoft.com/office/drawing/2014/main" id="{8DD37AF4-DF5A-4E78-A301-C51F93FB3338}"/>
                </a:ext>
              </a:extLst>
            </p:cNvPr>
            <p:cNvGrpSpPr/>
            <p:nvPr/>
          </p:nvGrpSpPr>
          <p:grpSpPr>
            <a:xfrm>
              <a:off x="3257709" y="1121500"/>
              <a:ext cx="2706811" cy="1456260"/>
              <a:chOff x="3270952" y="1841122"/>
              <a:chExt cx="2706811" cy="1456260"/>
            </a:xfrm>
          </p:grpSpPr>
          <p:sp>
            <p:nvSpPr>
              <p:cNvPr id="8" name="Rectangle 7">
                <a:extLst>
                  <a:ext uri="{FF2B5EF4-FFF2-40B4-BE49-F238E27FC236}">
                    <a16:creationId xmlns:a16="http://schemas.microsoft.com/office/drawing/2014/main" id="{B2FC89D2-857F-4224-9AAD-B6B7CC08E45F}"/>
                  </a:ext>
                </a:extLst>
              </p:cNvPr>
              <p:cNvSpPr/>
              <p:nvPr/>
            </p:nvSpPr>
            <p:spPr>
              <a:xfrm>
                <a:off x="3270952" y="1841122"/>
                <a:ext cx="2706811" cy="13165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2" name="Content Placeholder 8">
                <a:extLst>
                  <a:ext uri="{FF2B5EF4-FFF2-40B4-BE49-F238E27FC236}">
                    <a16:creationId xmlns:a16="http://schemas.microsoft.com/office/drawing/2014/main" id="{7631B2F6-2DAF-4883-939F-6DA622B40A0D}"/>
                  </a:ext>
                </a:extLst>
              </p:cNvPr>
              <p:cNvSpPr txBox="1">
                <a:spLocks/>
              </p:cNvSpPr>
              <p:nvPr/>
            </p:nvSpPr>
            <p:spPr>
              <a:xfrm>
                <a:off x="3348007" y="1980809"/>
                <a:ext cx="2552699" cy="131657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9pPr>
              </a:lstStyle>
              <a:p>
                <a:pPr algn="ctr"/>
                <a:r>
                  <a:rPr lang="en-US" sz="1400">
                    <a:solidFill>
                      <a:schemeClr val="accent1"/>
                    </a:solidFill>
                    <a:latin typeface="+mj-lt"/>
                  </a:rPr>
                  <a:t>Air freight shippers</a:t>
                </a:r>
                <a:endParaRPr lang="en-US" sz="200"/>
              </a:p>
              <a:p>
                <a:pPr algn="ctr">
                  <a:spcBef>
                    <a:spcPts val="600"/>
                  </a:spcBef>
                  <a:buClr>
                    <a:schemeClr val="accent1"/>
                  </a:buClr>
                </a:pPr>
                <a:r>
                  <a:rPr lang="en-US" sz="1200"/>
                  <a:t>Companies move the goods to fulfillment centers in freight format and perform local ground distribution in the destination country</a:t>
                </a:r>
                <a:endParaRPr lang="en-US" sz="2000"/>
              </a:p>
            </p:txBody>
          </p:sp>
        </p:grpSp>
        <p:grpSp>
          <p:nvGrpSpPr>
            <p:cNvPr id="18" name="Group 17">
              <a:extLst>
                <a:ext uri="{FF2B5EF4-FFF2-40B4-BE49-F238E27FC236}">
                  <a16:creationId xmlns:a16="http://schemas.microsoft.com/office/drawing/2014/main" id="{546AF85A-E54A-4B0C-A91A-AA052603D700}"/>
                </a:ext>
              </a:extLst>
            </p:cNvPr>
            <p:cNvGrpSpPr/>
            <p:nvPr/>
          </p:nvGrpSpPr>
          <p:grpSpPr>
            <a:xfrm>
              <a:off x="6134418" y="1123084"/>
              <a:ext cx="2706811" cy="1454676"/>
              <a:chOff x="6160904" y="1841121"/>
              <a:chExt cx="2706811" cy="1454676"/>
            </a:xfrm>
          </p:grpSpPr>
          <p:sp>
            <p:nvSpPr>
              <p:cNvPr id="9" name="Rectangle 8">
                <a:extLst>
                  <a:ext uri="{FF2B5EF4-FFF2-40B4-BE49-F238E27FC236}">
                    <a16:creationId xmlns:a16="http://schemas.microsoft.com/office/drawing/2014/main" id="{1FD4EC83-9725-4C7B-9A7B-30292BB52779}"/>
                  </a:ext>
                </a:extLst>
              </p:cNvPr>
              <p:cNvSpPr/>
              <p:nvPr/>
            </p:nvSpPr>
            <p:spPr>
              <a:xfrm>
                <a:off x="6160904" y="1841121"/>
                <a:ext cx="2706811" cy="13149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Content Placeholder 8">
                <a:extLst>
                  <a:ext uri="{FF2B5EF4-FFF2-40B4-BE49-F238E27FC236}">
                    <a16:creationId xmlns:a16="http://schemas.microsoft.com/office/drawing/2014/main" id="{FD753762-8978-4429-BFC2-9ADA569AFCD7}"/>
                  </a:ext>
                </a:extLst>
              </p:cNvPr>
              <p:cNvSpPr txBox="1">
                <a:spLocks/>
              </p:cNvSpPr>
              <p:nvPr/>
            </p:nvSpPr>
            <p:spPr>
              <a:xfrm>
                <a:off x="6248002" y="1980809"/>
                <a:ext cx="2552699" cy="131498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9pPr>
              </a:lstStyle>
              <a:p>
                <a:pPr algn="ctr"/>
                <a:r>
                  <a:rPr lang="en-US" sz="1400">
                    <a:solidFill>
                      <a:schemeClr val="accent1"/>
                    </a:solidFill>
                    <a:latin typeface="+mj-lt"/>
                  </a:rPr>
                  <a:t>Hybrid model</a:t>
                </a:r>
                <a:endParaRPr lang="en-US" sz="200"/>
              </a:p>
              <a:p>
                <a:pPr algn="ctr">
                  <a:spcBef>
                    <a:spcPts val="600"/>
                  </a:spcBef>
                  <a:buClr>
                    <a:schemeClr val="accent1"/>
                  </a:buClr>
                </a:pPr>
                <a:r>
                  <a:rPr lang="en-US" sz="1200"/>
                  <a:t>Mixed-use of internal and external capabilities to move freight to fulfillment centers, and also shipping of single parcels to consumers via air cargo</a:t>
                </a:r>
                <a:endParaRPr lang="en-US" sz="1600"/>
              </a:p>
              <a:p>
                <a:pPr algn="ctr"/>
                <a:endParaRPr lang="en-US" sz="2000"/>
              </a:p>
            </p:txBody>
          </p:sp>
        </p:grpSp>
        <p:grpSp>
          <p:nvGrpSpPr>
            <p:cNvPr id="17" name="Group 16">
              <a:extLst>
                <a:ext uri="{FF2B5EF4-FFF2-40B4-BE49-F238E27FC236}">
                  <a16:creationId xmlns:a16="http://schemas.microsoft.com/office/drawing/2014/main" id="{60CF7860-D40E-45FD-BC64-40AA6AFC043A}"/>
                </a:ext>
              </a:extLst>
            </p:cNvPr>
            <p:cNvGrpSpPr/>
            <p:nvPr/>
          </p:nvGrpSpPr>
          <p:grpSpPr>
            <a:xfrm>
              <a:off x="9011126" y="1123084"/>
              <a:ext cx="2706811" cy="1314988"/>
              <a:chOff x="9050857" y="1841121"/>
              <a:chExt cx="2706811" cy="1314988"/>
            </a:xfrm>
          </p:grpSpPr>
          <p:sp>
            <p:nvSpPr>
              <p:cNvPr id="10" name="Rectangle 9">
                <a:extLst>
                  <a:ext uri="{FF2B5EF4-FFF2-40B4-BE49-F238E27FC236}">
                    <a16:creationId xmlns:a16="http://schemas.microsoft.com/office/drawing/2014/main" id="{AFEDC3D6-DE41-4C03-B58E-A01BD3B7D7BD}"/>
                  </a:ext>
                </a:extLst>
              </p:cNvPr>
              <p:cNvSpPr/>
              <p:nvPr/>
            </p:nvSpPr>
            <p:spPr>
              <a:xfrm>
                <a:off x="9050857" y="1841121"/>
                <a:ext cx="2706811" cy="13149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Content Placeholder 8">
                <a:extLst>
                  <a:ext uri="{FF2B5EF4-FFF2-40B4-BE49-F238E27FC236}">
                    <a16:creationId xmlns:a16="http://schemas.microsoft.com/office/drawing/2014/main" id="{F7382028-73FA-4C6F-9B03-8031C42875AD}"/>
                  </a:ext>
                </a:extLst>
              </p:cNvPr>
              <p:cNvSpPr txBox="1">
                <a:spLocks/>
              </p:cNvSpPr>
              <p:nvPr/>
            </p:nvSpPr>
            <p:spPr>
              <a:xfrm>
                <a:off x="9127912" y="1980809"/>
                <a:ext cx="2552699" cy="1132199"/>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600" kern="1200">
                    <a:solidFill>
                      <a:schemeClr val="tx1"/>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798513"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3pPr>
                <a:lvl4pPr marL="1201738" indent="-228600" algn="l" defTabSz="914400" rtl="0" eaLnBrk="1" latinLnBrk="0" hangingPunct="1">
                  <a:lnSpc>
                    <a:spcPct val="90000"/>
                  </a:lnSpc>
                  <a:spcBef>
                    <a:spcPts val="500"/>
                  </a:spcBef>
                  <a:buFont typeface="Aktiv Grotesk Medium" panose="020B0504020202020204" pitchFamily="34" charset="0"/>
                  <a:buChar char="▪"/>
                  <a:defRPr sz="2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defRPr sz="2400" kern="1200">
                    <a:solidFill>
                      <a:schemeClr val="accent1"/>
                    </a:solidFill>
                    <a:latin typeface="+mj-lt"/>
                    <a:ea typeface="+mn-ea"/>
                    <a:cs typeface="+mn-cs"/>
                  </a:defRPr>
                </a:lvl9pPr>
              </a:lstStyle>
              <a:p>
                <a:pPr algn="ctr"/>
                <a:r>
                  <a:rPr lang="en-US" sz="1400">
                    <a:solidFill>
                      <a:schemeClr val="accent1"/>
                    </a:solidFill>
                    <a:latin typeface="+mj-lt"/>
                  </a:rPr>
                  <a:t>Air parcel shippers</a:t>
                </a:r>
                <a:endParaRPr lang="en-US" sz="200"/>
              </a:p>
              <a:p>
                <a:pPr algn="ctr">
                  <a:spcBef>
                    <a:spcPts val="600"/>
                  </a:spcBef>
                  <a:buClr>
                    <a:schemeClr val="accent1"/>
                  </a:buClr>
                </a:pPr>
                <a:r>
                  <a:rPr lang="en-US" sz="1200"/>
                  <a:t>Firms rely on standard Courier-Express-Parcel &amp; airmail. It is common for marketplaces due to their high dispatch fragmentation</a:t>
                </a:r>
              </a:p>
              <a:p>
                <a:pPr algn="ctr"/>
                <a:endParaRPr lang="en-US" sz="2000"/>
              </a:p>
            </p:txBody>
          </p:sp>
        </p:grpSp>
      </p:grpSp>
      <p:grpSp>
        <p:nvGrpSpPr>
          <p:cNvPr id="21" name="Group 20">
            <a:extLst>
              <a:ext uri="{FF2B5EF4-FFF2-40B4-BE49-F238E27FC236}">
                <a16:creationId xmlns:a16="http://schemas.microsoft.com/office/drawing/2014/main" id="{3FA71678-38AE-4300-90D4-89489717646B}"/>
              </a:ext>
            </a:extLst>
          </p:cNvPr>
          <p:cNvGrpSpPr/>
          <p:nvPr/>
        </p:nvGrpSpPr>
        <p:grpSpPr>
          <a:xfrm>
            <a:off x="1324562" y="2328394"/>
            <a:ext cx="9537333" cy="4342084"/>
            <a:chOff x="1057425" y="2291988"/>
            <a:chExt cx="9537333" cy="4342084"/>
          </a:xfrm>
        </p:grpSpPr>
        <p:pic>
          <p:nvPicPr>
            <p:cNvPr id="6" name="Picture 5" descr="Timeline&#10;&#10;Description automatically generated">
              <a:extLst>
                <a:ext uri="{FF2B5EF4-FFF2-40B4-BE49-F238E27FC236}">
                  <a16:creationId xmlns:a16="http://schemas.microsoft.com/office/drawing/2014/main" id="{D3056E9C-74D5-4DB3-A042-98037BE80C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7425" y="2291988"/>
              <a:ext cx="9537333" cy="4342084"/>
            </a:xfrm>
            <a:prstGeom prst="rect">
              <a:avLst/>
            </a:prstGeom>
          </p:spPr>
        </p:pic>
        <p:sp>
          <p:nvSpPr>
            <p:cNvPr id="20" name="Rectangle 19">
              <a:extLst>
                <a:ext uri="{FF2B5EF4-FFF2-40B4-BE49-F238E27FC236}">
                  <a16:creationId xmlns:a16="http://schemas.microsoft.com/office/drawing/2014/main" id="{F7CA2E5A-6200-490B-BCC8-81F3E5EB2D67}"/>
                </a:ext>
              </a:extLst>
            </p:cNvPr>
            <p:cNvSpPr/>
            <p:nvPr/>
          </p:nvSpPr>
          <p:spPr>
            <a:xfrm>
              <a:off x="8083485" y="6183222"/>
              <a:ext cx="657290" cy="1038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latin typeface="Aktiv Grotesk Light" panose="020B0404020202020204" pitchFamily="34" charset="0"/>
                  <a:ea typeface="Aktiv Grotesk Light" panose="020B0404020202020204" pitchFamily="34" charset="0"/>
                  <a:cs typeface="Aktiv Grotesk Light" panose="020B0404020202020204" pitchFamily="34" charset="0"/>
                </a:rPr>
                <a:t>mvideo.ru</a:t>
              </a:r>
            </a:p>
          </p:txBody>
        </p:sp>
      </p:grpSp>
    </p:spTree>
    <p:extLst>
      <p:ext uri="{BB962C8B-B14F-4D97-AF65-F5344CB8AC3E}">
        <p14:creationId xmlns:p14="http://schemas.microsoft.com/office/powerpoint/2010/main" val="5005054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463FC-CA81-4332-A426-2B9D80791809}"/>
              </a:ext>
            </a:extLst>
          </p:cNvPr>
          <p:cNvSpPr>
            <a:spLocks noGrp="1"/>
          </p:cNvSpPr>
          <p:nvPr>
            <p:ph type="title"/>
          </p:nvPr>
        </p:nvSpPr>
        <p:spPr/>
        <p:txBody>
          <a:bodyPr/>
          <a:lstStyle/>
          <a:p>
            <a:r>
              <a:rPr lang="en-US"/>
              <a:t>Air cargo e-commerce models</a:t>
            </a:r>
          </a:p>
        </p:txBody>
      </p:sp>
      <p:sp>
        <p:nvSpPr>
          <p:cNvPr id="3" name="Date Placeholder 2">
            <a:extLst>
              <a:ext uri="{FF2B5EF4-FFF2-40B4-BE49-F238E27FC236}">
                <a16:creationId xmlns:a16="http://schemas.microsoft.com/office/drawing/2014/main" id="{38251176-C032-4184-B3BB-C447C1E05D55}"/>
              </a:ext>
            </a:extLst>
          </p:cNvPr>
          <p:cNvSpPr>
            <a:spLocks noGrp="1"/>
          </p:cNvSpPr>
          <p:nvPr>
            <p:ph type="dt" sz="half" idx="10"/>
          </p:nvPr>
        </p:nvSpPr>
        <p:spPr/>
        <p:txBody>
          <a:bodyPr/>
          <a:lstStyle/>
          <a:p>
            <a:fld id="{F82CEB40-7C69-47E5-9106-E566935D3F53}" type="datetime3">
              <a:rPr lang="en-US" smtClean="0"/>
              <a:pPr/>
              <a:t>31 March 2021</a:t>
            </a:fld>
            <a:endParaRPr lang="en-US"/>
          </a:p>
        </p:txBody>
      </p:sp>
      <p:sp>
        <p:nvSpPr>
          <p:cNvPr id="4" name="Footer Placeholder 3">
            <a:extLst>
              <a:ext uri="{FF2B5EF4-FFF2-40B4-BE49-F238E27FC236}">
                <a16:creationId xmlns:a16="http://schemas.microsoft.com/office/drawing/2014/main" id="{9B901C7E-531C-492C-865D-39BB7F71E4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820148F-FB25-442B-945F-A3BD45A1B340}"/>
              </a:ext>
            </a:extLst>
          </p:cNvPr>
          <p:cNvSpPr>
            <a:spLocks noGrp="1"/>
          </p:cNvSpPr>
          <p:nvPr>
            <p:ph type="sldNum" sz="quarter" idx="12"/>
          </p:nvPr>
        </p:nvSpPr>
        <p:spPr/>
        <p:txBody>
          <a:bodyPr/>
          <a:lstStyle/>
          <a:p>
            <a:fld id="{1A9E565A-6679-4A67-8FB7-14EA342FD6E1}" type="slidenum">
              <a:rPr lang="en-US" smtClean="0"/>
              <a:pPr/>
              <a:t>6</a:t>
            </a:fld>
            <a:endParaRPr lang="en-US"/>
          </a:p>
        </p:txBody>
      </p:sp>
      <p:sp>
        <p:nvSpPr>
          <p:cNvPr id="6" name="Rectangle 5">
            <a:extLst>
              <a:ext uri="{FF2B5EF4-FFF2-40B4-BE49-F238E27FC236}">
                <a16:creationId xmlns:a16="http://schemas.microsoft.com/office/drawing/2014/main" id="{834C1D22-94EC-4642-B0B9-476FB6A8F52C}"/>
              </a:ext>
            </a:extLst>
          </p:cNvPr>
          <p:cNvSpPr/>
          <p:nvPr/>
        </p:nvSpPr>
        <p:spPr>
          <a:xfrm>
            <a:off x="378688" y="1724293"/>
            <a:ext cx="2723261" cy="861967"/>
          </a:xfrm>
          <a:prstGeom prst="rect">
            <a:avLst/>
          </a:prstGeom>
          <a:solidFill>
            <a:schemeClr val="accent2"/>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Model 1:</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1" i="0" u="none" strike="noStrike" kern="1200" cap="none" spc="0" normalizeH="0" baseline="0" noProof="0">
                <a:ln>
                  <a:noFill/>
                </a:ln>
                <a:solidFill>
                  <a:srgbClr val="000000"/>
                </a:solidFill>
                <a:effectLst/>
                <a:uLnTx/>
                <a:uFillTx/>
                <a:ea typeface="+mn-ea"/>
                <a:cs typeface="+mn-cs"/>
              </a:rPr>
            </a:br>
            <a:r>
              <a:rPr kumimoji="0" lang="en-US" sz="1200" b="1" i="0" u="none" strike="noStrike" kern="1200" cap="none" spc="0" normalizeH="0" baseline="0" noProof="0">
                <a:ln>
                  <a:noFill/>
                </a:ln>
                <a:solidFill>
                  <a:srgbClr val="000000"/>
                </a:solidFill>
                <a:effectLst/>
                <a:uLnTx/>
                <a:uFillTx/>
                <a:ea typeface="+mn-ea"/>
                <a:cs typeface="+mn-cs"/>
              </a:rPr>
              <a:t>Owned and fully dedicated</a:t>
            </a:r>
            <a:br>
              <a:rPr kumimoji="0" lang="en-US" sz="1200" b="1" i="0" u="none" strike="noStrike" kern="1200" cap="none" spc="0" normalizeH="0" baseline="0" noProof="0">
                <a:ln>
                  <a:noFill/>
                </a:ln>
                <a:solidFill>
                  <a:srgbClr val="000000"/>
                </a:solidFill>
                <a:effectLst/>
                <a:uLnTx/>
                <a:uFillTx/>
                <a:ea typeface="+mn-ea"/>
                <a:cs typeface="+mn-cs"/>
              </a:rPr>
            </a:br>
            <a:r>
              <a:rPr kumimoji="0" lang="en-US" sz="1200" b="1" i="0" u="none" strike="noStrike" kern="1200" cap="none" spc="0" normalizeH="0" baseline="0" noProof="0">
                <a:ln>
                  <a:noFill/>
                </a:ln>
                <a:solidFill>
                  <a:srgbClr val="000000"/>
                </a:solidFill>
                <a:effectLst/>
                <a:uLnTx/>
                <a:uFillTx/>
                <a:ea typeface="+mn-ea"/>
                <a:cs typeface="+mn-cs"/>
              </a:rPr>
              <a:t>air transport capabilities</a:t>
            </a:r>
          </a:p>
        </p:txBody>
      </p:sp>
      <p:sp>
        <p:nvSpPr>
          <p:cNvPr id="7" name="Rectangle 6">
            <a:extLst>
              <a:ext uri="{FF2B5EF4-FFF2-40B4-BE49-F238E27FC236}">
                <a16:creationId xmlns:a16="http://schemas.microsoft.com/office/drawing/2014/main" id="{33934949-5C46-429F-AAB6-D09DA10A28CE}"/>
              </a:ext>
            </a:extLst>
          </p:cNvPr>
          <p:cNvSpPr/>
          <p:nvPr/>
        </p:nvSpPr>
        <p:spPr>
          <a:xfrm>
            <a:off x="3290126" y="1724293"/>
            <a:ext cx="2723261" cy="861967"/>
          </a:xfrm>
          <a:prstGeom prst="rect">
            <a:avLst/>
          </a:prstGeom>
          <a:solidFill>
            <a:schemeClr val="accent2"/>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Model 2:</a:t>
            </a:r>
            <a:br>
              <a:rPr kumimoji="0" lang="en-US" sz="1200" b="1" i="0" u="none" strike="noStrike" kern="1200" cap="none" spc="0" normalizeH="0" baseline="0" noProof="0">
                <a:ln>
                  <a:noFill/>
                </a:ln>
                <a:solidFill>
                  <a:srgbClr val="000000"/>
                </a:solidFill>
                <a:effectLst/>
                <a:uLnTx/>
                <a:uFillTx/>
                <a:ea typeface="+mn-ea"/>
                <a:cs typeface="+mn-cs"/>
              </a:rPr>
            </a:br>
            <a:br>
              <a:rPr kumimoji="0" lang="en-US" sz="1200" b="1" i="0" u="none" strike="noStrike" kern="1200" cap="none" spc="0" normalizeH="0" baseline="0" noProof="0">
                <a:ln>
                  <a:noFill/>
                </a:ln>
                <a:solidFill>
                  <a:srgbClr val="000000"/>
                </a:solidFill>
                <a:effectLst/>
                <a:uLnTx/>
                <a:uFillTx/>
                <a:ea typeface="+mn-ea"/>
                <a:cs typeface="+mn-cs"/>
              </a:rPr>
            </a:br>
            <a:r>
              <a:rPr kumimoji="0" lang="en-US" sz="1200" b="1" i="0" u="none" strike="noStrike" kern="1200" cap="none" spc="0" normalizeH="0" baseline="0" noProof="0">
                <a:ln>
                  <a:noFill/>
                </a:ln>
                <a:solidFill>
                  <a:srgbClr val="000000"/>
                </a:solidFill>
                <a:effectLst/>
                <a:uLnTx/>
                <a:uFillTx/>
                <a:ea typeface="+mn-ea"/>
                <a:cs typeface="+mn-cs"/>
              </a:rPr>
              <a:t>Air freight shippers</a:t>
            </a:r>
          </a:p>
        </p:txBody>
      </p:sp>
      <p:sp>
        <p:nvSpPr>
          <p:cNvPr id="8" name="Rectangle 7">
            <a:extLst>
              <a:ext uri="{FF2B5EF4-FFF2-40B4-BE49-F238E27FC236}">
                <a16:creationId xmlns:a16="http://schemas.microsoft.com/office/drawing/2014/main" id="{13D2C2A0-6445-49F6-9EDA-8011E3ED8BEA}"/>
              </a:ext>
            </a:extLst>
          </p:cNvPr>
          <p:cNvSpPr/>
          <p:nvPr/>
        </p:nvSpPr>
        <p:spPr>
          <a:xfrm>
            <a:off x="6189726" y="1724293"/>
            <a:ext cx="2723261" cy="861967"/>
          </a:xfrm>
          <a:prstGeom prst="rect">
            <a:avLst/>
          </a:prstGeom>
          <a:solidFill>
            <a:schemeClr val="accent2"/>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Model 3:</a:t>
            </a:r>
            <a:br>
              <a:rPr kumimoji="0" lang="en-US" sz="1200" b="1" i="0" u="none" strike="noStrike" kern="1200" cap="none" spc="0" normalizeH="0" baseline="0" noProof="0">
                <a:ln>
                  <a:noFill/>
                </a:ln>
                <a:solidFill>
                  <a:srgbClr val="000000"/>
                </a:solidFill>
                <a:effectLst/>
                <a:uLnTx/>
                <a:uFillTx/>
                <a:ea typeface="+mn-ea"/>
                <a:cs typeface="+mn-cs"/>
              </a:rPr>
            </a:br>
            <a:br>
              <a:rPr kumimoji="0" lang="en-US" sz="1200" b="1" i="0" u="none" strike="noStrike" kern="1200" cap="none" spc="0" normalizeH="0" baseline="0" noProof="0">
                <a:ln>
                  <a:noFill/>
                </a:ln>
                <a:solidFill>
                  <a:srgbClr val="000000"/>
                </a:solidFill>
                <a:effectLst/>
                <a:uLnTx/>
                <a:uFillTx/>
                <a:ea typeface="+mn-ea"/>
                <a:cs typeface="+mn-cs"/>
              </a:rPr>
            </a:br>
            <a:r>
              <a:rPr kumimoji="0" lang="en-US" sz="1200" b="1" i="0" u="none" strike="noStrike" kern="1200" cap="none" spc="0" normalizeH="0" baseline="0" noProof="0">
                <a:ln>
                  <a:noFill/>
                </a:ln>
                <a:solidFill>
                  <a:srgbClr val="000000"/>
                </a:solidFill>
                <a:effectLst/>
                <a:uLnTx/>
                <a:uFillTx/>
                <a:ea typeface="+mn-ea"/>
                <a:cs typeface="+mn-cs"/>
              </a:rPr>
              <a:t>Hybrid models</a:t>
            </a:r>
          </a:p>
        </p:txBody>
      </p:sp>
      <p:sp>
        <p:nvSpPr>
          <p:cNvPr id="9" name="Rectangle 8">
            <a:extLst>
              <a:ext uri="{FF2B5EF4-FFF2-40B4-BE49-F238E27FC236}">
                <a16:creationId xmlns:a16="http://schemas.microsoft.com/office/drawing/2014/main" id="{480701FA-B84C-4B52-ACF8-A2F3654C4B08}"/>
              </a:ext>
            </a:extLst>
          </p:cNvPr>
          <p:cNvSpPr/>
          <p:nvPr/>
        </p:nvSpPr>
        <p:spPr>
          <a:xfrm>
            <a:off x="390526" y="2670864"/>
            <a:ext cx="2723261" cy="3224628"/>
          </a:xfrm>
          <a:prstGeom prst="rect">
            <a:avLst/>
          </a:prstGeom>
          <a:noFill/>
          <a:ln w="3175">
            <a:solidFill>
              <a:srgbClr val="1E32F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Firms using owned air transport capabilities reduce their dependence on 3rd party carriers in order to limit risk and increase margins along the cross-border e-Commerce value cha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More prevalent among large players, though elements of this model are often mixed to some extent with models 2-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ea typeface="+mn-ea"/>
                <a:cs typeface="+mn-cs"/>
              </a:rPr>
              <a:t>Amazon owns Amazon Air which is expanding its fleet, planning to reach 70 aircraft by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0000"/>
                </a:solidFill>
                <a:effectLst/>
                <a:uLnTx/>
                <a:uFillTx/>
                <a:ea typeface="+mn-ea"/>
                <a:cs typeface="+mn-cs"/>
              </a:rPr>
              <a:t>Cainiao</a:t>
            </a:r>
            <a:r>
              <a:rPr kumimoji="0" lang="en-US" sz="1200" b="0" i="0" u="none" strike="noStrike" kern="1200" cap="none" spc="0" normalizeH="0" baseline="0" noProof="0" dirty="0">
                <a:ln>
                  <a:noFill/>
                </a:ln>
                <a:solidFill>
                  <a:srgbClr val="000000"/>
                </a:solidFill>
                <a:effectLst/>
                <a:uLnTx/>
                <a:uFillTx/>
                <a:ea typeface="+mn-ea"/>
                <a:cs typeface="+mn-cs"/>
              </a:rPr>
              <a:t>, the logistics arm of the Alibaba Group, outsources its air transport but uses dedicated capacity to do so.</a:t>
            </a:r>
          </a:p>
        </p:txBody>
      </p:sp>
      <p:sp>
        <p:nvSpPr>
          <p:cNvPr id="10" name="Rectangle 9">
            <a:extLst>
              <a:ext uri="{FF2B5EF4-FFF2-40B4-BE49-F238E27FC236}">
                <a16:creationId xmlns:a16="http://schemas.microsoft.com/office/drawing/2014/main" id="{E1A0F837-4896-4938-BCDB-7FD2F6530342}"/>
              </a:ext>
            </a:extLst>
          </p:cNvPr>
          <p:cNvSpPr/>
          <p:nvPr/>
        </p:nvSpPr>
        <p:spPr>
          <a:xfrm>
            <a:off x="3290126" y="2670864"/>
            <a:ext cx="2723261" cy="3224628"/>
          </a:xfrm>
          <a:prstGeom prst="rect">
            <a:avLst/>
          </a:prstGeom>
          <a:noFill/>
          <a:ln w="3175">
            <a:solidFill>
              <a:srgbClr val="1E32F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Moving goods to fulfillment centers in freight format (rather than single parcels) and performs local ground distribution in target country (can be own or outsourc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Traditional model for future-domestic*** carg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More common for large online shops (e.g. ASOS, JD.com, Wehkamp or Apple) than marketplaces, who often have their own fulfillment and/or distribution centers. This way of moving goods is also less costly than moving single parc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Main routes are Far East to Europe and North America, and intra-continent.</a:t>
            </a:r>
          </a:p>
        </p:txBody>
      </p:sp>
      <p:sp>
        <p:nvSpPr>
          <p:cNvPr id="11" name="Rectangle 10">
            <a:extLst>
              <a:ext uri="{FF2B5EF4-FFF2-40B4-BE49-F238E27FC236}">
                <a16:creationId xmlns:a16="http://schemas.microsoft.com/office/drawing/2014/main" id="{5E8B3D3A-AE8F-4758-92E5-21D4085507BA}"/>
              </a:ext>
            </a:extLst>
          </p:cNvPr>
          <p:cNvSpPr/>
          <p:nvPr/>
        </p:nvSpPr>
        <p:spPr>
          <a:xfrm>
            <a:off x="6189726" y="2670864"/>
            <a:ext cx="2723261" cy="3224628"/>
          </a:xfrm>
          <a:prstGeom prst="rect">
            <a:avLst/>
          </a:prstGeom>
          <a:noFill/>
          <a:ln w="3175">
            <a:solidFill>
              <a:srgbClr val="1E32F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Mixed use of dedicated and external capabilities for moving freight to fulfillment centers and single parcels (loose dispatch) to consumers via air carg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Popular among firms operating as both an e-shop and marketplace e.g. Zalan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Hybrid models benefit from reduced air freight costs and high service levels when needed, while maintaining revenues from marketplace cooperation with small sellers who dispatch single parcels on their 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Allows flexibility of transportation capacity, </a:t>
            </a:r>
            <a:r>
              <a:rPr kumimoji="0" lang="en-US" sz="1200" b="0" i="0" u="none" strike="noStrike" kern="1200" cap="none" spc="0" normalizeH="0" baseline="0" noProof="0" err="1">
                <a:ln>
                  <a:noFill/>
                </a:ln>
                <a:solidFill>
                  <a:srgbClr val="000000"/>
                </a:solidFill>
                <a:effectLst/>
                <a:uLnTx/>
                <a:uFillTx/>
                <a:ea typeface="+mn-ea"/>
                <a:cs typeface="+mn-cs"/>
              </a:rPr>
              <a:t>e.g</a:t>
            </a:r>
            <a:r>
              <a:rPr kumimoji="0" lang="en-US" sz="1200" b="0" i="0" u="none" strike="noStrike" kern="1200" cap="none" spc="0" normalizeH="0" baseline="0" noProof="0">
                <a:ln>
                  <a:noFill/>
                </a:ln>
                <a:solidFill>
                  <a:srgbClr val="000000"/>
                </a:solidFill>
                <a:effectLst/>
                <a:uLnTx/>
                <a:uFillTx/>
                <a:ea typeface="+mn-ea"/>
                <a:cs typeface="+mn-cs"/>
              </a:rPr>
              <a:t> in case of seasonality</a:t>
            </a:r>
          </a:p>
        </p:txBody>
      </p:sp>
      <p:sp>
        <p:nvSpPr>
          <p:cNvPr id="12" name="Rectangle 11">
            <a:extLst>
              <a:ext uri="{FF2B5EF4-FFF2-40B4-BE49-F238E27FC236}">
                <a16:creationId xmlns:a16="http://schemas.microsoft.com/office/drawing/2014/main" id="{7ADD51BF-506B-4271-B315-C67A1E2F471D}"/>
              </a:ext>
            </a:extLst>
          </p:cNvPr>
          <p:cNvSpPr/>
          <p:nvPr/>
        </p:nvSpPr>
        <p:spPr>
          <a:xfrm>
            <a:off x="9087063" y="1724293"/>
            <a:ext cx="2723261" cy="861967"/>
          </a:xfrm>
          <a:prstGeom prst="rect">
            <a:avLst/>
          </a:prstGeom>
          <a:solidFill>
            <a:schemeClr val="accent2"/>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Model 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ea typeface="+mn-ea"/>
                <a:cs typeface="+mn-cs"/>
              </a:rPr>
              <a:t>Air parcel shippers </a:t>
            </a:r>
            <a:br>
              <a:rPr kumimoji="0" lang="en-US" sz="1200" b="1" i="0" u="none" strike="noStrike" kern="1200" cap="none" spc="0" normalizeH="0" baseline="0" noProof="0">
                <a:ln>
                  <a:noFill/>
                </a:ln>
                <a:solidFill>
                  <a:srgbClr val="000000"/>
                </a:solidFill>
                <a:effectLst/>
                <a:uLnTx/>
                <a:uFillTx/>
                <a:ea typeface="+mn-ea"/>
                <a:cs typeface="+mn-cs"/>
              </a:rPr>
            </a:br>
            <a:r>
              <a:rPr kumimoji="0" lang="en-US" sz="1200" b="1" i="0" u="none" strike="noStrike" kern="1200" cap="none" spc="0" normalizeH="0" baseline="0" noProof="0">
                <a:ln>
                  <a:noFill/>
                </a:ln>
                <a:solidFill>
                  <a:srgbClr val="000000"/>
                </a:solidFill>
                <a:effectLst/>
                <a:uLnTx/>
                <a:uFillTx/>
                <a:ea typeface="+mn-ea"/>
                <a:cs typeface="+mn-cs"/>
              </a:rPr>
              <a:t>(traditional model)</a:t>
            </a:r>
          </a:p>
        </p:txBody>
      </p:sp>
      <p:sp>
        <p:nvSpPr>
          <p:cNvPr id="13" name="Rectangle 12">
            <a:extLst>
              <a:ext uri="{FF2B5EF4-FFF2-40B4-BE49-F238E27FC236}">
                <a16:creationId xmlns:a16="http://schemas.microsoft.com/office/drawing/2014/main" id="{3C6039E7-93AF-42C1-88FA-2394281C2EF0}"/>
              </a:ext>
            </a:extLst>
          </p:cNvPr>
          <p:cNvSpPr/>
          <p:nvPr/>
        </p:nvSpPr>
        <p:spPr>
          <a:xfrm>
            <a:off x="9087063" y="2670864"/>
            <a:ext cx="2723261" cy="3224628"/>
          </a:xfrm>
          <a:prstGeom prst="rect">
            <a:avLst/>
          </a:prstGeom>
          <a:noFill/>
          <a:ln w="3175">
            <a:solidFill>
              <a:srgbClr val="1E32F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Traditional model of cross-border</a:t>
            </a:r>
            <a:br>
              <a:rPr kumimoji="0" lang="en-US" sz="1200" b="0" i="0" u="none" strike="noStrike" kern="1200" cap="none" spc="0" normalizeH="0" baseline="0" noProof="0">
                <a:ln>
                  <a:noFill/>
                </a:ln>
                <a:solidFill>
                  <a:srgbClr val="000000"/>
                </a:solidFill>
                <a:effectLst/>
                <a:uLnTx/>
                <a:uFillTx/>
                <a:ea typeface="+mn-ea"/>
                <a:cs typeface="+mn-cs"/>
              </a:rPr>
            </a:br>
            <a:r>
              <a:rPr kumimoji="0" lang="en-US" sz="1200" b="0" i="0" u="none" strike="noStrike" kern="1200" cap="none" spc="0" normalizeH="0" baseline="0" noProof="0">
                <a:ln>
                  <a:noFill/>
                </a:ln>
                <a:solidFill>
                  <a:srgbClr val="000000"/>
                </a:solidFill>
                <a:effectLst/>
                <a:uLnTx/>
                <a:uFillTx/>
                <a:ea typeface="+mn-ea"/>
                <a:cs typeface="+mn-cs"/>
              </a:rPr>
              <a:t>e-commerce players relying on standard CEP and postal air cargo, e.g. Wish, Shopif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More common for marketplaces due to high dispatch fragmentation as they are usually sent for individual ord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This model allows online stores to focus on marketing and other essential business operations, specializing and outsourcing T&amp;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Popular regardless of region as services provided by CEP and postal air cargo are available worldw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ea typeface="+mn-ea"/>
                <a:cs typeface="+mn-cs"/>
              </a:rPr>
              <a:t>Driven by UPU regulations***</a:t>
            </a:r>
          </a:p>
        </p:txBody>
      </p:sp>
    </p:spTree>
    <p:extLst>
      <p:ext uri="{BB962C8B-B14F-4D97-AF65-F5344CB8AC3E}">
        <p14:creationId xmlns:p14="http://schemas.microsoft.com/office/powerpoint/2010/main" val="11575314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7E5A3-BC25-4F51-A4FC-5D2F2899474A}"/>
              </a:ext>
            </a:extLst>
          </p:cNvPr>
          <p:cNvSpPr>
            <a:spLocks noGrp="1"/>
          </p:cNvSpPr>
          <p:nvPr>
            <p:ph type="title"/>
          </p:nvPr>
        </p:nvSpPr>
        <p:spPr/>
        <p:txBody>
          <a:bodyPr/>
          <a:lstStyle/>
          <a:p>
            <a:r>
              <a:rPr lang="en-US"/>
              <a:t>Five strategies for transformation</a:t>
            </a:r>
          </a:p>
        </p:txBody>
      </p:sp>
      <p:pic>
        <p:nvPicPr>
          <p:cNvPr id="8" name="Picture 7">
            <a:extLst>
              <a:ext uri="{FF2B5EF4-FFF2-40B4-BE49-F238E27FC236}">
                <a16:creationId xmlns:a16="http://schemas.microsoft.com/office/drawing/2014/main" id="{576E2556-5BE8-400F-A845-3CAF92CE6F5B}"/>
              </a:ext>
            </a:extLst>
          </p:cNvPr>
          <p:cNvPicPr>
            <a:picLocks noChangeAspect="1"/>
          </p:cNvPicPr>
          <p:nvPr/>
        </p:nvPicPr>
        <p:blipFill>
          <a:blip r:embed="rId3"/>
          <a:stretch>
            <a:fillRect/>
          </a:stretch>
        </p:blipFill>
        <p:spPr>
          <a:xfrm>
            <a:off x="349533" y="1919817"/>
            <a:ext cx="10040751" cy="4067743"/>
          </a:xfrm>
          <a:prstGeom prst="rect">
            <a:avLst/>
          </a:prstGeom>
        </p:spPr>
      </p:pic>
      <p:sp>
        <p:nvSpPr>
          <p:cNvPr id="9" name="Rectangle 8">
            <a:extLst>
              <a:ext uri="{FF2B5EF4-FFF2-40B4-BE49-F238E27FC236}">
                <a16:creationId xmlns:a16="http://schemas.microsoft.com/office/drawing/2014/main" id="{FEDFB45C-ED9C-4D59-9889-4484FBEC7DEC}"/>
              </a:ext>
            </a:extLst>
          </p:cNvPr>
          <p:cNvSpPr/>
          <p:nvPr/>
        </p:nvSpPr>
        <p:spPr>
          <a:xfrm>
            <a:off x="2399167" y="1231275"/>
            <a:ext cx="1303699" cy="7898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Focus on </a:t>
            </a:r>
            <a:br>
              <a:rPr lang="en-US" sz="1200">
                <a:latin typeface="+mj-lt"/>
              </a:rPr>
            </a:br>
            <a:r>
              <a:rPr lang="en-US" sz="1200">
                <a:latin typeface="+mj-lt"/>
              </a:rPr>
              <a:t>e-commerce products &amp; services</a:t>
            </a:r>
          </a:p>
        </p:txBody>
      </p:sp>
      <p:sp>
        <p:nvSpPr>
          <p:cNvPr id="26" name="Rectangle 25">
            <a:extLst>
              <a:ext uri="{FF2B5EF4-FFF2-40B4-BE49-F238E27FC236}">
                <a16:creationId xmlns:a16="http://schemas.microsoft.com/office/drawing/2014/main" id="{6FC68E10-1A26-437F-8CA7-448CBF9D3BB9}"/>
              </a:ext>
            </a:extLst>
          </p:cNvPr>
          <p:cNvSpPr/>
          <p:nvPr/>
        </p:nvSpPr>
        <p:spPr>
          <a:xfrm>
            <a:off x="3910913" y="1231275"/>
            <a:ext cx="1303699" cy="7898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Digitize to increase speed </a:t>
            </a:r>
          </a:p>
        </p:txBody>
      </p:sp>
      <p:sp>
        <p:nvSpPr>
          <p:cNvPr id="27" name="Rectangle 26">
            <a:extLst>
              <a:ext uri="{FF2B5EF4-FFF2-40B4-BE49-F238E27FC236}">
                <a16:creationId xmlns:a16="http://schemas.microsoft.com/office/drawing/2014/main" id="{5725F1A9-D95C-4952-8D2A-DC70E665D352}"/>
              </a:ext>
            </a:extLst>
          </p:cNvPr>
          <p:cNvSpPr/>
          <p:nvPr/>
        </p:nvSpPr>
        <p:spPr>
          <a:xfrm>
            <a:off x="5450796" y="1231275"/>
            <a:ext cx="1303699" cy="7898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Build into own system</a:t>
            </a:r>
          </a:p>
        </p:txBody>
      </p:sp>
      <p:sp>
        <p:nvSpPr>
          <p:cNvPr id="28" name="Rectangle 27">
            <a:extLst>
              <a:ext uri="{FF2B5EF4-FFF2-40B4-BE49-F238E27FC236}">
                <a16:creationId xmlns:a16="http://schemas.microsoft.com/office/drawing/2014/main" id="{C9289D42-C21F-4BA4-BA40-28097C8BB97A}"/>
              </a:ext>
            </a:extLst>
          </p:cNvPr>
          <p:cNvSpPr/>
          <p:nvPr/>
        </p:nvSpPr>
        <p:spPr>
          <a:xfrm>
            <a:off x="6978172" y="1231275"/>
            <a:ext cx="1303699" cy="7898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Shift to cargo </a:t>
            </a:r>
          </a:p>
        </p:txBody>
      </p:sp>
      <p:sp>
        <p:nvSpPr>
          <p:cNvPr id="29" name="Rectangle 28">
            <a:extLst>
              <a:ext uri="{FF2B5EF4-FFF2-40B4-BE49-F238E27FC236}">
                <a16:creationId xmlns:a16="http://schemas.microsoft.com/office/drawing/2014/main" id="{7EE874D1-F7DA-468E-9826-7361267C046F}"/>
              </a:ext>
            </a:extLst>
          </p:cNvPr>
          <p:cNvSpPr/>
          <p:nvPr/>
        </p:nvSpPr>
        <p:spPr>
          <a:xfrm>
            <a:off x="8505548" y="1231275"/>
            <a:ext cx="1303699" cy="7898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Compete through responsiveness and VAS</a:t>
            </a:r>
          </a:p>
        </p:txBody>
      </p:sp>
      <p:sp>
        <p:nvSpPr>
          <p:cNvPr id="10" name="Rectangle 9">
            <a:extLst>
              <a:ext uri="{FF2B5EF4-FFF2-40B4-BE49-F238E27FC236}">
                <a16:creationId xmlns:a16="http://schemas.microsoft.com/office/drawing/2014/main" id="{6A2E18AB-2823-4C58-AB87-4872B667B622}"/>
              </a:ext>
            </a:extLst>
          </p:cNvPr>
          <p:cNvSpPr/>
          <p:nvPr/>
        </p:nvSpPr>
        <p:spPr>
          <a:xfrm>
            <a:off x="10139881" y="1231274"/>
            <a:ext cx="1705020" cy="4571997"/>
          </a:xfrm>
          <a:prstGeom prst="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97A1E905-64C0-4742-9896-0515FDB77AED}"/>
              </a:ext>
            </a:extLst>
          </p:cNvPr>
          <p:cNvGrpSpPr/>
          <p:nvPr/>
        </p:nvGrpSpPr>
        <p:grpSpPr>
          <a:xfrm>
            <a:off x="10264872" y="1400289"/>
            <a:ext cx="1507949" cy="2765945"/>
            <a:chOff x="4395480" y="6762117"/>
            <a:chExt cx="1111983" cy="1502015"/>
          </a:xfrm>
        </p:grpSpPr>
        <p:sp>
          <p:nvSpPr>
            <p:cNvPr id="18" name="TextBox 17">
              <a:extLst>
                <a:ext uri="{FF2B5EF4-FFF2-40B4-BE49-F238E27FC236}">
                  <a16:creationId xmlns:a16="http://schemas.microsoft.com/office/drawing/2014/main" id="{37AB08EF-0CC7-4EBD-907A-451829C0E338}"/>
                </a:ext>
              </a:extLst>
            </p:cNvPr>
            <p:cNvSpPr txBox="1"/>
            <p:nvPr/>
          </p:nvSpPr>
          <p:spPr>
            <a:xfrm>
              <a:off x="4395481" y="6762117"/>
              <a:ext cx="1001738" cy="417836"/>
            </a:xfrm>
            <a:prstGeom prst="rect">
              <a:avLst/>
            </a:prstGeom>
            <a:noFill/>
          </p:spPr>
          <p:txBody>
            <a:bodyPr wrap="square" rtlCol="0">
              <a:spAutoFit/>
            </a:bodyPr>
            <a:lstStyle/>
            <a:p>
              <a:r>
                <a:rPr lang="en-US" sz="4400" b="1">
                  <a:solidFill>
                    <a:schemeClr val="accent1"/>
                  </a:solidFill>
                  <a:latin typeface="+mj-lt"/>
                </a:rPr>
                <a:t>80</a:t>
              </a:r>
              <a:r>
                <a:rPr lang="en-US" sz="2400" b="1">
                  <a:solidFill>
                    <a:schemeClr val="accent1"/>
                  </a:solidFill>
                  <a:latin typeface="+mj-lt"/>
                </a:rPr>
                <a:t> </a:t>
              </a:r>
              <a:r>
                <a:rPr lang="en-US" sz="2400">
                  <a:solidFill>
                    <a:schemeClr val="accent1"/>
                  </a:solidFill>
                  <a:latin typeface="+mj-lt"/>
                </a:rPr>
                <a:t>%</a:t>
              </a:r>
              <a:endParaRPr lang="en-US" sz="2000">
                <a:solidFill>
                  <a:schemeClr val="accent1"/>
                </a:solidFill>
                <a:latin typeface="+mj-lt"/>
              </a:endParaRPr>
            </a:p>
          </p:txBody>
        </p:sp>
        <p:sp>
          <p:nvSpPr>
            <p:cNvPr id="19" name="TextBox 18">
              <a:extLst>
                <a:ext uri="{FF2B5EF4-FFF2-40B4-BE49-F238E27FC236}">
                  <a16:creationId xmlns:a16="http://schemas.microsoft.com/office/drawing/2014/main" id="{8AEE8137-642F-4FE2-A946-AF9F0697967B}"/>
                </a:ext>
              </a:extLst>
            </p:cNvPr>
            <p:cNvSpPr txBox="1"/>
            <p:nvPr/>
          </p:nvSpPr>
          <p:spPr>
            <a:xfrm>
              <a:off x="4395481" y="7110462"/>
              <a:ext cx="1093909" cy="350983"/>
            </a:xfrm>
            <a:prstGeom prst="rect">
              <a:avLst/>
            </a:prstGeom>
            <a:noFill/>
          </p:spPr>
          <p:txBody>
            <a:bodyPr wrap="square" rtlCol="0">
              <a:spAutoFit/>
            </a:bodyPr>
            <a:lstStyle/>
            <a:p>
              <a:r>
                <a:rPr lang="en-US" sz="1200">
                  <a:latin typeface="+mj-lt"/>
                </a:rPr>
                <a:t>of cross border </a:t>
              </a:r>
              <a:br>
                <a:rPr lang="en-US" sz="1200">
                  <a:latin typeface="+mj-lt"/>
                </a:rPr>
              </a:br>
              <a:r>
                <a:rPr lang="en-US" sz="1200">
                  <a:latin typeface="+mj-lt"/>
                </a:rPr>
                <a:t>e-commerce is transported by air</a:t>
              </a:r>
            </a:p>
          </p:txBody>
        </p:sp>
        <p:cxnSp>
          <p:nvCxnSpPr>
            <p:cNvPr id="20" name="Straight Connector 19">
              <a:extLst>
                <a:ext uri="{FF2B5EF4-FFF2-40B4-BE49-F238E27FC236}">
                  <a16:creationId xmlns:a16="http://schemas.microsoft.com/office/drawing/2014/main" id="{204B12AD-84A5-452C-A234-814DD6E96612}"/>
                </a:ext>
              </a:extLst>
            </p:cNvPr>
            <p:cNvCxnSpPr>
              <a:cxnSpLocks/>
            </p:cNvCxnSpPr>
            <p:nvPr/>
          </p:nvCxnSpPr>
          <p:spPr>
            <a:xfrm>
              <a:off x="4452761" y="7538666"/>
              <a:ext cx="944457" cy="0"/>
            </a:xfrm>
            <a:prstGeom prst="line">
              <a:avLst/>
            </a:prstGeom>
            <a:ln w="38100">
              <a:solidFill>
                <a:srgbClr val="FAC83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26A9DF9-6363-4887-9601-718A0619E08D}"/>
                </a:ext>
              </a:extLst>
            </p:cNvPr>
            <p:cNvSpPr txBox="1"/>
            <p:nvPr/>
          </p:nvSpPr>
          <p:spPr>
            <a:xfrm>
              <a:off x="4395480" y="7596585"/>
              <a:ext cx="1001738" cy="417836"/>
            </a:xfrm>
            <a:prstGeom prst="rect">
              <a:avLst/>
            </a:prstGeom>
            <a:noFill/>
          </p:spPr>
          <p:txBody>
            <a:bodyPr wrap="square" rtlCol="0">
              <a:spAutoFit/>
            </a:bodyPr>
            <a:lstStyle/>
            <a:p>
              <a:r>
                <a:rPr lang="en-US" sz="4400" b="1">
                  <a:solidFill>
                    <a:schemeClr val="accent1"/>
                  </a:solidFill>
                  <a:latin typeface="+mj-lt"/>
                </a:rPr>
                <a:t>36</a:t>
              </a:r>
              <a:r>
                <a:rPr lang="en-US" b="1">
                  <a:solidFill>
                    <a:schemeClr val="accent1"/>
                  </a:solidFill>
                  <a:latin typeface="+mj-lt"/>
                </a:rPr>
                <a:t> </a:t>
              </a:r>
              <a:r>
                <a:rPr lang="en-US" sz="2400">
                  <a:solidFill>
                    <a:schemeClr val="accent1"/>
                  </a:solidFill>
                  <a:latin typeface="+mj-lt"/>
                </a:rPr>
                <a:t>%</a:t>
              </a:r>
            </a:p>
          </p:txBody>
        </p:sp>
        <p:sp>
          <p:nvSpPr>
            <p:cNvPr id="22" name="TextBox 21">
              <a:extLst>
                <a:ext uri="{FF2B5EF4-FFF2-40B4-BE49-F238E27FC236}">
                  <a16:creationId xmlns:a16="http://schemas.microsoft.com/office/drawing/2014/main" id="{04D70F97-B368-429D-8E58-3A22F992E6E3}"/>
                </a:ext>
              </a:extLst>
            </p:cNvPr>
            <p:cNvSpPr txBox="1"/>
            <p:nvPr/>
          </p:nvSpPr>
          <p:spPr>
            <a:xfrm>
              <a:off x="4395481" y="8013430"/>
              <a:ext cx="1111982" cy="250702"/>
            </a:xfrm>
            <a:prstGeom prst="rect">
              <a:avLst/>
            </a:prstGeom>
            <a:noFill/>
          </p:spPr>
          <p:txBody>
            <a:bodyPr wrap="square" rtlCol="0">
              <a:spAutoFit/>
            </a:bodyPr>
            <a:lstStyle>
              <a:defPPr>
                <a:defRPr lang="en-US"/>
              </a:defPPr>
              <a:lvl1pPr>
                <a:defRPr sz="1200">
                  <a:latin typeface="+mj-lt"/>
                </a:defRPr>
              </a:lvl1pPr>
            </a:lstStyle>
            <a:p>
              <a:r>
                <a:rPr lang="en-US"/>
                <a:t>air cargo airline revenue in 2020</a:t>
              </a:r>
            </a:p>
          </p:txBody>
        </p:sp>
      </p:grpSp>
      <p:cxnSp>
        <p:nvCxnSpPr>
          <p:cNvPr id="30" name="Straight Connector 29">
            <a:extLst>
              <a:ext uri="{FF2B5EF4-FFF2-40B4-BE49-F238E27FC236}">
                <a16:creationId xmlns:a16="http://schemas.microsoft.com/office/drawing/2014/main" id="{00DDB22B-A663-498F-B5E0-5A3AAA042782}"/>
              </a:ext>
            </a:extLst>
          </p:cNvPr>
          <p:cNvCxnSpPr>
            <a:cxnSpLocks/>
          </p:cNvCxnSpPr>
          <p:nvPr/>
        </p:nvCxnSpPr>
        <p:spPr>
          <a:xfrm>
            <a:off x="10342550" y="4341535"/>
            <a:ext cx="1280769" cy="0"/>
          </a:xfrm>
          <a:prstGeom prst="line">
            <a:avLst/>
          </a:prstGeom>
          <a:ln w="38100">
            <a:solidFill>
              <a:srgbClr val="FAC832"/>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3F24818-3DD2-41DC-BC10-BDC50306FF66}"/>
              </a:ext>
            </a:extLst>
          </p:cNvPr>
          <p:cNvSpPr txBox="1"/>
          <p:nvPr/>
        </p:nvSpPr>
        <p:spPr>
          <a:xfrm>
            <a:off x="10290702" y="4413267"/>
            <a:ext cx="1358447" cy="769441"/>
          </a:xfrm>
          <a:prstGeom prst="rect">
            <a:avLst/>
          </a:prstGeom>
          <a:noFill/>
        </p:spPr>
        <p:txBody>
          <a:bodyPr wrap="square" rtlCol="0">
            <a:spAutoFit/>
          </a:bodyPr>
          <a:lstStyle/>
          <a:p>
            <a:r>
              <a:rPr lang="en-US" sz="4400" b="1" dirty="0">
                <a:solidFill>
                  <a:schemeClr val="accent1"/>
                </a:solidFill>
                <a:latin typeface="+mj-lt"/>
              </a:rPr>
              <a:t>82</a:t>
            </a:r>
            <a:r>
              <a:rPr lang="en-US" b="1" dirty="0">
                <a:solidFill>
                  <a:schemeClr val="accent1"/>
                </a:solidFill>
                <a:latin typeface="+mj-lt"/>
              </a:rPr>
              <a:t> </a:t>
            </a:r>
            <a:r>
              <a:rPr lang="en-US" sz="2400" dirty="0">
                <a:solidFill>
                  <a:schemeClr val="accent1"/>
                </a:solidFill>
                <a:latin typeface="+mj-lt"/>
              </a:rPr>
              <a:t>%</a:t>
            </a:r>
          </a:p>
        </p:txBody>
      </p:sp>
      <p:sp>
        <p:nvSpPr>
          <p:cNvPr id="32" name="TextBox 31">
            <a:extLst>
              <a:ext uri="{FF2B5EF4-FFF2-40B4-BE49-F238E27FC236}">
                <a16:creationId xmlns:a16="http://schemas.microsoft.com/office/drawing/2014/main" id="{E50C296F-390B-411D-9D4B-DE7518CAD4AD}"/>
              </a:ext>
            </a:extLst>
          </p:cNvPr>
          <p:cNvSpPr txBox="1"/>
          <p:nvPr/>
        </p:nvSpPr>
        <p:spPr>
          <a:xfrm>
            <a:off x="10290703" y="5180883"/>
            <a:ext cx="1507948" cy="646331"/>
          </a:xfrm>
          <a:prstGeom prst="rect">
            <a:avLst/>
          </a:prstGeom>
          <a:noFill/>
        </p:spPr>
        <p:txBody>
          <a:bodyPr wrap="square" rtlCol="0">
            <a:spAutoFit/>
          </a:bodyPr>
          <a:lstStyle>
            <a:defPPr>
              <a:defRPr lang="en-US"/>
            </a:defPPr>
            <a:lvl1pPr>
              <a:defRPr sz="1200">
                <a:latin typeface="+mj-lt"/>
              </a:defRPr>
            </a:lvl1pPr>
          </a:lstStyle>
          <a:p>
            <a:r>
              <a:rPr lang="en-US" dirty="0"/>
              <a:t>of consumers want recyclable packaging </a:t>
            </a:r>
          </a:p>
        </p:txBody>
      </p:sp>
    </p:spTree>
    <p:extLst>
      <p:ext uri="{BB962C8B-B14F-4D97-AF65-F5344CB8AC3E}">
        <p14:creationId xmlns:p14="http://schemas.microsoft.com/office/powerpoint/2010/main" val="4939050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E37C8-D394-40C9-87F0-5D574872E710}"/>
              </a:ext>
            </a:extLst>
          </p:cNvPr>
          <p:cNvSpPr>
            <a:spLocks noGrp="1"/>
          </p:cNvSpPr>
          <p:nvPr>
            <p:ph type="title"/>
          </p:nvPr>
        </p:nvSpPr>
        <p:spPr/>
        <p:txBody>
          <a:bodyPr/>
          <a:lstStyle/>
          <a:p>
            <a:r>
              <a:rPr lang="en-US"/>
              <a:t>Transform to build a robust air cargo</a:t>
            </a:r>
          </a:p>
        </p:txBody>
      </p:sp>
      <p:sp>
        <p:nvSpPr>
          <p:cNvPr id="3" name="Date Placeholder 2">
            <a:extLst>
              <a:ext uri="{FF2B5EF4-FFF2-40B4-BE49-F238E27FC236}">
                <a16:creationId xmlns:a16="http://schemas.microsoft.com/office/drawing/2014/main" id="{E8625CB4-3652-4496-8EEC-E219BB0B57BF}"/>
              </a:ext>
            </a:extLst>
          </p:cNvPr>
          <p:cNvSpPr>
            <a:spLocks noGrp="1"/>
          </p:cNvSpPr>
          <p:nvPr>
            <p:ph type="dt" sz="half" idx="10"/>
          </p:nvPr>
        </p:nvSpPr>
        <p:spPr/>
        <p:txBody>
          <a:bodyPr/>
          <a:lstStyle/>
          <a:p>
            <a:fld id="{F82CEB40-7C69-47E5-9106-E566935D3F53}" type="datetime3">
              <a:rPr lang="en-US" smtClean="0"/>
              <a:pPr/>
              <a:t>31 March 2021</a:t>
            </a:fld>
            <a:endParaRPr lang="en-US"/>
          </a:p>
        </p:txBody>
      </p:sp>
      <p:sp>
        <p:nvSpPr>
          <p:cNvPr id="5" name="Slide Number Placeholder 4">
            <a:extLst>
              <a:ext uri="{FF2B5EF4-FFF2-40B4-BE49-F238E27FC236}">
                <a16:creationId xmlns:a16="http://schemas.microsoft.com/office/drawing/2014/main" id="{F441D9A8-131B-4569-8F60-F337F7C042B3}"/>
              </a:ext>
            </a:extLst>
          </p:cNvPr>
          <p:cNvSpPr>
            <a:spLocks noGrp="1"/>
          </p:cNvSpPr>
          <p:nvPr>
            <p:ph type="sldNum" sz="quarter" idx="12"/>
          </p:nvPr>
        </p:nvSpPr>
        <p:spPr/>
        <p:txBody>
          <a:bodyPr/>
          <a:lstStyle/>
          <a:p>
            <a:fld id="{1A9E565A-6679-4A67-8FB7-14EA342FD6E1}" type="slidenum">
              <a:rPr lang="en-US" smtClean="0"/>
              <a:pPr/>
              <a:t>8</a:t>
            </a:fld>
            <a:endParaRPr lang="en-US"/>
          </a:p>
        </p:txBody>
      </p:sp>
      <p:pic>
        <p:nvPicPr>
          <p:cNvPr id="6" name="Picture 5">
            <a:extLst>
              <a:ext uri="{FF2B5EF4-FFF2-40B4-BE49-F238E27FC236}">
                <a16:creationId xmlns:a16="http://schemas.microsoft.com/office/drawing/2014/main" id="{5EE0F198-EDC6-4FA8-B6AE-6C4148DB0E44}"/>
              </a:ext>
            </a:extLst>
          </p:cNvPr>
          <p:cNvPicPr>
            <a:picLocks noChangeAspect="1"/>
          </p:cNvPicPr>
          <p:nvPr/>
        </p:nvPicPr>
        <p:blipFill rotWithShape="1">
          <a:blip r:embed="rId3"/>
          <a:srcRect l="1347" r="-1" b="18327"/>
          <a:stretch/>
        </p:blipFill>
        <p:spPr>
          <a:xfrm>
            <a:off x="1569925" y="1519876"/>
            <a:ext cx="8871068" cy="2606251"/>
          </a:xfrm>
          <a:prstGeom prst="rect">
            <a:avLst/>
          </a:prstGeom>
        </p:spPr>
      </p:pic>
      <p:sp>
        <p:nvSpPr>
          <p:cNvPr id="13" name="Rectangle 12">
            <a:extLst>
              <a:ext uri="{FF2B5EF4-FFF2-40B4-BE49-F238E27FC236}">
                <a16:creationId xmlns:a16="http://schemas.microsoft.com/office/drawing/2014/main" id="{8C33EF44-E1F4-404C-8E14-9A1E080FFADD}"/>
              </a:ext>
            </a:extLst>
          </p:cNvPr>
          <p:cNvSpPr/>
          <p:nvPr/>
        </p:nvSpPr>
        <p:spPr>
          <a:xfrm rot="16200000">
            <a:off x="5152949" y="708690"/>
            <a:ext cx="1705020" cy="8871069"/>
          </a:xfrm>
          <a:prstGeom prst="rect">
            <a:avLst/>
          </a:prstGeom>
          <a:solidFill>
            <a:schemeClr val="bg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1D66E60-180A-4E12-9ED7-6EA58DB22F71}"/>
              </a:ext>
            </a:extLst>
          </p:cNvPr>
          <p:cNvSpPr txBox="1"/>
          <p:nvPr/>
        </p:nvSpPr>
        <p:spPr>
          <a:xfrm>
            <a:off x="1751004" y="4414691"/>
            <a:ext cx="2598572" cy="1323439"/>
          </a:xfrm>
          <a:prstGeom prst="rect">
            <a:avLst/>
          </a:prstGeom>
          <a:noFill/>
        </p:spPr>
        <p:txBody>
          <a:bodyPr wrap="square" rtlCol="0">
            <a:spAutoFit/>
          </a:bodyPr>
          <a:lstStyle/>
          <a:p>
            <a:r>
              <a:rPr lang="en-US" sz="1600" dirty="0"/>
              <a:t>COVID-19 has accelerated e-commerce penetration and solidified the shift in consumer behavior.</a:t>
            </a:r>
          </a:p>
        </p:txBody>
      </p:sp>
      <p:sp>
        <p:nvSpPr>
          <p:cNvPr id="17" name="TextBox 16">
            <a:extLst>
              <a:ext uri="{FF2B5EF4-FFF2-40B4-BE49-F238E27FC236}">
                <a16:creationId xmlns:a16="http://schemas.microsoft.com/office/drawing/2014/main" id="{15FFDECC-C822-46FB-BBDD-14AA0CD3CE4C}"/>
              </a:ext>
            </a:extLst>
          </p:cNvPr>
          <p:cNvSpPr txBox="1"/>
          <p:nvPr/>
        </p:nvSpPr>
        <p:spPr>
          <a:xfrm>
            <a:off x="4683673" y="4653138"/>
            <a:ext cx="2598572" cy="830997"/>
          </a:xfrm>
          <a:prstGeom prst="rect">
            <a:avLst/>
          </a:prstGeom>
          <a:noFill/>
        </p:spPr>
        <p:txBody>
          <a:bodyPr wrap="square" rtlCol="0">
            <a:spAutoFit/>
          </a:bodyPr>
          <a:lstStyle/>
          <a:p>
            <a:r>
              <a:rPr lang="en-US" sz="1600" dirty="0"/>
              <a:t>e-commerce is key for industry prosperity/survival</a:t>
            </a:r>
          </a:p>
        </p:txBody>
      </p:sp>
      <p:sp>
        <p:nvSpPr>
          <p:cNvPr id="18" name="TextBox 17">
            <a:extLst>
              <a:ext uri="{FF2B5EF4-FFF2-40B4-BE49-F238E27FC236}">
                <a16:creationId xmlns:a16="http://schemas.microsoft.com/office/drawing/2014/main" id="{B062DC59-473E-4EE0-8FC8-BD075B6B8313}"/>
              </a:ext>
            </a:extLst>
          </p:cNvPr>
          <p:cNvSpPr txBox="1"/>
          <p:nvPr/>
        </p:nvSpPr>
        <p:spPr>
          <a:xfrm>
            <a:off x="7637558" y="4406916"/>
            <a:ext cx="2598572" cy="1323439"/>
          </a:xfrm>
          <a:prstGeom prst="rect">
            <a:avLst/>
          </a:prstGeom>
          <a:noFill/>
        </p:spPr>
        <p:txBody>
          <a:bodyPr wrap="square" rtlCol="0">
            <a:spAutoFit/>
          </a:bodyPr>
          <a:lstStyle/>
          <a:p>
            <a:r>
              <a:rPr lang="en-US" sz="1600" dirty="0"/>
              <a:t>carriers need to address existing pain points through the 5 strategies in order to adapt to e-tailers needs</a:t>
            </a:r>
          </a:p>
        </p:txBody>
      </p:sp>
      <p:cxnSp>
        <p:nvCxnSpPr>
          <p:cNvPr id="19" name="Straight Connector 18">
            <a:extLst>
              <a:ext uri="{FF2B5EF4-FFF2-40B4-BE49-F238E27FC236}">
                <a16:creationId xmlns:a16="http://schemas.microsoft.com/office/drawing/2014/main" id="{ECA648BA-B2D8-4687-8A17-EBAC07174C1A}"/>
              </a:ext>
            </a:extLst>
          </p:cNvPr>
          <p:cNvCxnSpPr>
            <a:cxnSpLocks/>
          </p:cNvCxnSpPr>
          <p:nvPr/>
        </p:nvCxnSpPr>
        <p:spPr>
          <a:xfrm>
            <a:off x="4500024" y="4449036"/>
            <a:ext cx="0" cy="1309213"/>
          </a:xfrm>
          <a:prstGeom prst="line">
            <a:avLst/>
          </a:prstGeom>
          <a:ln w="38100">
            <a:solidFill>
              <a:srgbClr val="FAC83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DA1C896-A7EC-4694-AF4F-3923EF8385D1}"/>
              </a:ext>
            </a:extLst>
          </p:cNvPr>
          <p:cNvCxnSpPr>
            <a:cxnSpLocks/>
          </p:cNvCxnSpPr>
          <p:nvPr/>
        </p:nvCxnSpPr>
        <p:spPr>
          <a:xfrm>
            <a:off x="7432694" y="4449036"/>
            <a:ext cx="0" cy="1309213"/>
          </a:xfrm>
          <a:prstGeom prst="line">
            <a:avLst/>
          </a:prstGeom>
          <a:ln w="38100">
            <a:solidFill>
              <a:srgbClr val="FAC8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90007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1">
            <a:extLst>
              <a:ext uri="{FF2B5EF4-FFF2-40B4-BE49-F238E27FC236}">
                <a16:creationId xmlns:a16="http://schemas.microsoft.com/office/drawing/2014/main" id="{E2F94B54-94DB-4240-8BD9-F1AD6FBEF5C9}"/>
              </a:ext>
            </a:extLst>
          </p:cNvPr>
          <p:cNvPicPr>
            <a:picLocks noGrp="1" noChangeAspect="1"/>
          </p:cNvPicPr>
          <p:nvPr>
            <p:ph type="pic" sz="quarter" idx="13"/>
            <p:custDataLst>
              <p:tags r:id="rId1"/>
            </p:custDataLst>
          </p:nvPr>
        </p:nvPicPr>
        <p:blipFill rotWithShape="1">
          <a:blip r:embed="rId3">
            <a:extLst>
              <a:ext uri="{28A0092B-C50C-407E-A947-70E740481C1C}">
                <a14:useLocalDpi xmlns:a14="http://schemas.microsoft.com/office/drawing/2010/main" val="0"/>
              </a:ext>
            </a:extLst>
          </a:blip>
          <a:srcRect l="12531" r="12531"/>
          <a:stretch/>
        </p:blipFill>
        <p:spPr>
          <a:xfrm>
            <a:off x="6448425" y="0"/>
            <a:ext cx="5753100" cy="5753100"/>
          </a:xfrm>
        </p:spPr>
      </p:pic>
      <p:sp>
        <p:nvSpPr>
          <p:cNvPr id="2" name="Title 1">
            <a:extLst>
              <a:ext uri="{FF2B5EF4-FFF2-40B4-BE49-F238E27FC236}">
                <a16:creationId xmlns:a16="http://schemas.microsoft.com/office/drawing/2014/main" id="{0AEF8F2B-DA48-4271-9FA2-727F382B6984}"/>
              </a:ext>
            </a:extLst>
          </p:cNvPr>
          <p:cNvSpPr>
            <a:spLocks noGrp="1"/>
          </p:cNvSpPr>
          <p:nvPr>
            <p:ph type="title"/>
          </p:nvPr>
        </p:nvSpPr>
        <p:spPr>
          <a:xfrm>
            <a:off x="381000" y="381000"/>
            <a:ext cx="4736592" cy="3048000"/>
          </a:xfrm>
        </p:spPr>
        <p:txBody>
          <a:bodyPr anchor="t">
            <a:normAutofit/>
          </a:bodyPr>
          <a:lstStyle/>
          <a:p>
            <a:r>
              <a:rPr lang="en-US"/>
              <a:t>Thank you</a:t>
            </a:r>
          </a:p>
        </p:txBody>
      </p:sp>
      <p:sp>
        <p:nvSpPr>
          <p:cNvPr id="14" name="Content Placeholder 6">
            <a:extLst>
              <a:ext uri="{FF2B5EF4-FFF2-40B4-BE49-F238E27FC236}">
                <a16:creationId xmlns:a16="http://schemas.microsoft.com/office/drawing/2014/main" id="{471551AF-F095-45DD-BA38-EBA071EE45FC}"/>
              </a:ext>
            </a:extLst>
          </p:cNvPr>
          <p:cNvSpPr>
            <a:spLocks noGrp="1"/>
          </p:cNvSpPr>
          <p:nvPr>
            <p:ph sz="half" idx="1"/>
          </p:nvPr>
        </p:nvSpPr>
        <p:spPr>
          <a:xfrm>
            <a:off x="381000" y="2476500"/>
            <a:ext cx="6330043" cy="2920229"/>
          </a:xfrm>
        </p:spPr>
        <p:txBody>
          <a:bodyPr/>
          <a:lstStyle/>
          <a:p>
            <a:r>
              <a:rPr lang="en-US" sz="3200">
                <a:latin typeface="+mj-lt"/>
              </a:rPr>
              <a:t>More information, insight articles and the IATA e-Commerce Monitor are available at </a:t>
            </a:r>
            <a:r>
              <a:rPr lang="en-US" sz="3200">
                <a:solidFill>
                  <a:schemeClr val="accent1"/>
                </a:solidFill>
                <a:latin typeface="+mj-lt"/>
                <a:hlinkClick r:id="rId4">
                  <a:extLst>
                    <a:ext uri="{A12FA001-AC4F-418D-AE19-62706E023703}">
                      <ahyp:hlinkClr xmlns:ahyp="http://schemas.microsoft.com/office/drawing/2018/hyperlinkcolor" val="tx"/>
                    </a:ext>
                  </a:extLst>
                </a:hlinkClick>
              </a:rPr>
              <a:t>www.iata.org/ecommerce</a:t>
            </a:r>
            <a:r>
              <a:rPr lang="en-US" sz="3200">
                <a:solidFill>
                  <a:schemeClr val="accent1"/>
                </a:solidFill>
                <a:latin typeface="+mj-lt"/>
              </a:rPr>
              <a:t> </a:t>
            </a:r>
          </a:p>
          <a:p>
            <a:endParaRPr lang="en-US"/>
          </a:p>
          <a:p>
            <a:r>
              <a:rPr lang="en-US" b="1"/>
              <a:t>Brendan Sullivan</a:t>
            </a:r>
          </a:p>
          <a:p>
            <a:r>
              <a:rPr lang="en-US"/>
              <a:t>Head, E-Commerce &amp; Cargo Operations</a:t>
            </a:r>
          </a:p>
          <a:p>
            <a:r>
              <a:rPr lang="en-US"/>
              <a:t>sullivanb@iata.org</a:t>
            </a:r>
          </a:p>
        </p:txBody>
      </p:sp>
    </p:spTree>
    <p:extLst>
      <p:ext uri="{BB962C8B-B14F-4D97-AF65-F5344CB8AC3E}">
        <p14:creationId xmlns:p14="http://schemas.microsoft.com/office/powerpoint/2010/main" val="36040959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EMPLAFYSLIDEID" val="637255773635676685"/>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varelap\AppData\Local\Temp\Templafy\PowerPointVsto\Assets\25d640d6-fb67-4197-8853-6a1a970ae7dd.jpeg"/>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varelap\AppData\Local\Temp\Templafy\PowerPointVsto\Assets\2aa10396-c3bf-4d52-bdb5-11c22660bea6.jp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7oVfCV9RSuRv5c4Phax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7oVfCV9RSuRv5c4Phaxvw"/>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sullivanb\AppData\Local\Temp\Templafy\PowerPointVsto\Assets\2e9f15e8-952d-4203-b321-b8281b182637.jpeg"/>
</p:tagLst>
</file>

<file path=ppt/theme/theme1.xml><?xml version="1.0" encoding="utf-8"?>
<a:theme xmlns:a="http://schemas.openxmlformats.org/drawingml/2006/main" name="IATA_Master">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2079DA3-5C4D-4978-824B-BA617890F96E}" vid="{8FB557DD-74E9-4064-9336-51FF414ACE84}"/>
    </a:ext>
  </a:extLst>
</a:theme>
</file>

<file path=ppt/theme/theme2.xml><?xml version="1.0" encoding="utf-8"?>
<a:theme xmlns:a="http://schemas.openxmlformats.org/drawingml/2006/main" name="Office Theme">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Notes">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ATA">
      <a:dk1>
        <a:sysClr val="windowText" lastClr="000000"/>
      </a:dk1>
      <a:lt1>
        <a:sysClr val="window" lastClr="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Handouts">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TotalTime>
  <Words>1200</Words>
  <Application>Microsoft Office PowerPoint</Application>
  <PresentationFormat>Widescreen</PresentationFormat>
  <Paragraphs>139</Paragraphs>
  <Slides>9</Slides>
  <Notes>6</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Aktiv Grotesk Light</vt:lpstr>
      <vt:lpstr>Aktiv Grotesk Medium</vt:lpstr>
      <vt:lpstr>Aktiv Grotesk</vt:lpstr>
      <vt:lpstr>IATA_Master</vt:lpstr>
      <vt:lpstr>think-cell Slide</vt:lpstr>
      <vt:lpstr>e-Commerce</vt:lpstr>
      <vt:lpstr>Consumer behavior changed in 2020</vt:lpstr>
      <vt:lpstr>E-Commerce Global Distribution - 2019</vt:lpstr>
      <vt:lpstr>Pandemic Period e-Commerce Growth</vt:lpstr>
      <vt:lpstr>Air cargo models &amp; e-tailers</vt:lpstr>
      <vt:lpstr>Air cargo e-commerce models</vt:lpstr>
      <vt:lpstr>Five strategies for transformation</vt:lpstr>
      <vt:lpstr>Transform to build a robust air cargo</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ommerce</dc:title>
  <dc:creator>Brendan Sullivan</dc:creator>
  <cp:lastModifiedBy>Charles Kauffman</cp:lastModifiedBy>
  <cp:revision>3</cp:revision>
  <dcterms:created xsi:type="dcterms:W3CDTF">2021-03-17T10:09:02Z</dcterms:created>
  <dcterms:modified xsi:type="dcterms:W3CDTF">2021-04-01T00:04:19Z</dcterms:modified>
</cp:coreProperties>
</file>